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sldIdLst>
    <p:sldId id="256" r:id="rId2"/>
    <p:sldId id="260" r:id="rId3"/>
    <p:sldId id="259" r:id="rId4"/>
    <p:sldId id="257" r:id="rId5"/>
    <p:sldId id="261" r:id="rId6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4B5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75" autoAdjust="0"/>
    <p:restoredTop sz="94660"/>
  </p:normalViewPr>
  <p:slideViewPr>
    <p:cSldViewPr snapToGrid="0">
      <p:cViewPr>
        <p:scale>
          <a:sx n="67" d="100"/>
          <a:sy n="67" d="100"/>
        </p:scale>
        <p:origin x="568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51012" y="609601"/>
            <a:ext cx="8676222" cy="3200400"/>
          </a:xfrm>
        </p:spPr>
        <p:txBody>
          <a:bodyPr anchor="b">
            <a:normAutofit/>
          </a:bodyPr>
          <a:lstStyle>
            <a:lvl1pPr algn="ctr">
              <a:defRPr sz="4800">
                <a:effectLst>
                  <a:glow rad="38100">
                    <a:schemeClr val="bg1">
                      <a:lumMod val="65000"/>
                      <a:lumOff val="35000"/>
                      <a:alpha val="50000"/>
                    </a:schemeClr>
                  </a:glow>
                  <a:outerShdw blurRad="28575" dist="31750" dir="132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51012" y="3886200"/>
            <a:ext cx="8676222" cy="1905000"/>
          </a:xfrm>
        </p:spPr>
        <p:txBody>
          <a:bodyPr anchor="t">
            <a:normAutofit/>
          </a:bodyPr>
          <a:lstStyle>
            <a:lvl1pPr marL="0" indent="0" algn="ctr">
              <a:buNone/>
              <a:defRPr sz="21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28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3" y="4732865"/>
            <a:ext cx="99060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979612" y="932112"/>
            <a:ext cx="8225944" cy="3164976"/>
          </a:xfrm>
          <a:prstGeom prst="roundRect">
            <a:avLst>
              <a:gd name="adj" fmla="val 4380"/>
            </a:avLst>
          </a:prstGeo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413" y="5299603"/>
            <a:ext cx="9906000" cy="493712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28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2" y="609601"/>
            <a:ext cx="9905999" cy="3124199"/>
          </a:xfrm>
        </p:spPr>
        <p:txBody>
          <a:bodyPr anchor="ctr">
            <a:normAutofit/>
          </a:bodyPr>
          <a:lstStyle>
            <a:lvl1pPr algn="l">
              <a:defRPr sz="3200" b="0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1" y="4343400"/>
            <a:ext cx="9906000" cy="14478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28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836612" y="786824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accent1"/>
                </a:solidFill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437812" y="2743200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accent1"/>
                </a:solidFill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3" y="609601"/>
            <a:ext cx="9296398" cy="2743199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674812" y="3352800"/>
            <a:ext cx="8839202" cy="3810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1" y="4343400"/>
            <a:ext cx="9906000" cy="14478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28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2" y="3308581"/>
            <a:ext cx="9906000" cy="1468800"/>
          </a:xfrm>
        </p:spPr>
        <p:txBody>
          <a:bodyPr anchor="b">
            <a:normAutofit/>
          </a:bodyPr>
          <a:lstStyle>
            <a:lvl1pPr algn="l">
              <a:defRPr sz="3200" b="0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0" y="4777381"/>
            <a:ext cx="9906001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28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836612" y="786824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accent1"/>
                </a:solidFill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437812" y="2743200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accent1"/>
                </a:solidFill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3" y="609601"/>
            <a:ext cx="9296398" cy="2743199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141412" y="3886200"/>
            <a:ext cx="9906000" cy="8890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accent1"/>
                </a:soli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1" y="4775200"/>
            <a:ext cx="9906000" cy="10160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28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2" y="609601"/>
            <a:ext cx="9905999" cy="2743199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141412" y="3505200"/>
            <a:ext cx="9906000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800" b="0" cap="all" dirty="0">
                <a:ln w="3175" cmpd="sng">
                  <a:noFill/>
                </a:ln>
                <a:solidFill>
                  <a:schemeClr val="tx1"/>
                </a:soli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1" y="4343400"/>
            <a:ext cx="9906000" cy="14478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28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1905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28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6898" y="609599"/>
            <a:ext cx="2210514" cy="5181601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41412" y="609600"/>
            <a:ext cx="7543800" cy="5181600"/>
          </a:xfrm>
        </p:spPr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28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28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1013" y="3308581"/>
            <a:ext cx="8686800" cy="1468800"/>
          </a:xfrm>
        </p:spPr>
        <p:txBody>
          <a:bodyPr anchor="b"/>
          <a:lstStyle>
            <a:lvl1pPr algn="r">
              <a:defRPr sz="4000" b="0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1011" y="4777381"/>
            <a:ext cx="8686801" cy="860400"/>
          </a:xfrm>
        </p:spPr>
        <p:txBody>
          <a:bodyPr anchor="t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28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41412" y="2666999"/>
            <a:ext cx="4876800" cy="3124201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0612" y="2667000"/>
            <a:ext cx="4876800" cy="3124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28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29280" y="2658533"/>
            <a:ext cx="4588931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41412" y="3243262"/>
            <a:ext cx="4876800" cy="2547937"/>
          </a:xfrm>
        </p:spPr>
        <p:txBody>
          <a:bodyPr anchor="t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43133" y="2667000"/>
            <a:ext cx="4604280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0612" y="3243262"/>
            <a:ext cx="4876801" cy="2547937"/>
          </a:xfrm>
        </p:spPr>
        <p:txBody>
          <a:bodyPr anchor="t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28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28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28/20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1600200"/>
            <a:ext cx="3549121" cy="13716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03812" y="609601"/>
            <a:ext cx="5943601" cy="5181600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411" y="2971800"/>
            <a:ext cx="3549121" cy="18288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28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1600200"/>
            <a:ext cx="5334001" cy="1371600"/>
          </a:xfrm>
        </p:spPr>
        <p:txBody>
          <a:bodyPr anchor="b">
            <a:normAutofit/>
          </a:bodyPr>
          <a:lstStyle>
            <a:lvl1pPr algn="l">
              <a:defRPr sz="2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433733" y="-18288"/>
            <a:ext cx="3276599" cy="6903720"/>
          </a:xfr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080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411" y="2971800"/>
            <a:ext cx="5334001" cy="1828800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399212" y="5883275"/>
            <a:ext cx="914400" cy="365125"/>
          </a:xfrm>
        </p:spPr>
        <p:txBody>
          <a:bodyPr/>
          <a:lstStyle/>
          <a:p>
            <a:fld id="{B61BEF0D-F0BB-DE4B-95CE-6DB70DBA9567}" type="datetimeFigureOut">
              <a:rPr lang="en-US" dirty="0"/>
              <a:pPr/>
              <a:t>3/28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141412" y="5883275"/>
            <a:ext cx="5105400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0742612" y="5883275"/>
            <a:ext cx="3225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2FCBC93-6BEC-45B0-AF0F-968E863F6A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4138210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" name="think-cell Slide" r:id="rId22" imgW="395" imgH="394" progId="TCLayout.ActiveDocument.1">
                  <p:embed/>
                </p:oleObj>
              </mc:Choice>
              <mc:Fallback>
                <p:oleObj name="think-cell Slide" r:id="rId22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9808F9E-F437-4E67-9900-7609B4368FE9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1905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3" y="2666999"/>
            <a:ext cx="9905998" cy="31242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837612" y="5883275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fld id="{B61BEF0D-F0BB-DE4B-95CE-6DB70DBA9567}" type="datetimeFigureOut">
              <a:rPr lang="en-US" dirty="0"/>
              <a:pPr/>
              <a:t>3/28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41412" y="5883275"/>
            <a:ext cx="7543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14012" y="5883275"/>
            <a:ext cx="5511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61" r:id="rId9"/>
    <p:sldLayoutId id="2147483657" r:id="rId10"/>
    <p:sldLayoutId id="2147483663" r:id="rId11"/>
    <p:sldLayoutId id="2147483664" r:id="rId12"/>
    <p:sldLayoutId id="2147483665" r:id="rId13"/>
    <p:sldLayoutId id="2147483666" r:id="rId14"/>
    <p:sldLayoutId id="2147483667" r:id="rId15"/>
    <p:sldLayoutId id="2147483658" r:id="rId16"/>
    <p:sldLayoutId id="2147483659" r:id="rId17"/>
  </p:sldLayoutIdLst>
  <p:txStyles>
    <p:titleStyle>
      <a:lvl1pPr algn="l" defTabSz="457200" rtl="0" eaLnBrk="1" latinLnBrk="0" hangingPunct="1">
        <a:spcBef>
          <a:spcPct val="0"/>
        </a:spcBef>
        <a:buNone/>
        <a:defRPr sz="3200" kern="1200" cap="all">
          <a:ln w="3175" cmpd="sng">
            <a:noFill/>
          </a:ln>
          <a:solidFill>
            <a:schemeClr val="accent1"/>
          </a:solidFill>
          <a:effectLst>
            <a:glow rad="38100">
              <a:schemeClr val="bg1">
                <a:lumMod val="65000"/>
                <a:lumOff val="35000"/>
                <a:alpha val="40000"/>
              </a:schemeClr>
            </a:glow>
            <a:outerShdw blurRad="28575" dist="38100" dir="14040000" algn="tl" rotWithShape="0">
              <a:srgbClr val="000000">
                <a:alpha val="25000"/>
              </a:srgbClr>
            </a:outerShdw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00000"/>
        <a:buFont typeface="Arial"/>
        <a:buChar char="•"/>
        <a:defRPr sz="2000" kern="1200" cap="small">
          <a:solidFill>
            <a:schemeClr val="tx1"/>
          </a:soli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00000"/>
        <a:buFont typeface="Arial"/>
        <a:buChar char="•"/>
        <a:defRPr sz="1800" kern="1200" cap="small">
          <a:solidFill>
            <a:schemeClr val="tx1"/>
          </a:soli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00000"/>
        <a:buFont typeface="Arial"/>
        <a:buChar char="•"/>
        <a:defRPr sz="1600" kern="1200" cap="small">
          <a:solidFill>
            <a:schemeClr val="tx1"/>
          </a:soli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00000"/>
        <a:buFont typeface="Arial"/>
        <a:buChar char="•"/>
        <a:defRPr sz="1400" kern="1200" cap="small">
          <a:solidFill>
            <a:schemeClr val="tx1"/>
          </a:soli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00000"/>
        <a:buFont typeface="Arial"/>
        <a:buChar char="•"/>
        <a:defRPr sz="1400" kern="1200" cap="small">
          <a:solidFill>
            <a:schemeClr val="tx1"/>
          </a:soli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00000"/>
        <a:buFont typeface="Arial"/>
        <a:buChar char="•"/>
        <a:defRPr sz="1200" kern="1200" cap="small">
          <a:solidFill>
            <a:schemeClr val="tx1"/>
          </a:soli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00000"/>
        <a:buFont typeface="Arial"/>
        <a:buChar char="•"/>
        <a:defRPr sz="1200" kern="1200" cap="small">
          <a:solidFill>
            <a:schemeClr val="tx1"/>
          </a:soli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00000"/>
        <a:buFont typeface="Arial"/>
        <a:buChar char="•"/>
        <a:defRPr sz="1200" kern="1200" cap="small">
          <a:solidFill>
            <a:schemeClr val="tx1"/>
          </a:soli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00000"/>
        <a:buFont typeface="Arial"/>
        <a:buChar char="•"/>
        <a:defRPr sz="1200" kern="1200" cap="small">
          <a:solidFill>
            <a:schemeClr val="tx1"/>
          </a:soli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13" Type="http://schemas.openxmlformats.org/officeDocument/2006/relationships/image" Target="../media/image9.png"/><Relationship Id="rId18" Type="http://schemas.openxmlformats.org/officeDocument/2006/relationships/image" Target="../media/image14.svg"/><Relationship Id="rId3" Type="http://schemas.openxmlformats.org/officeDocument/2006/relationships/tags" Target="../tags/tag11.xml"/><Relationship Id="rId7" Type="http://schemas.openxmlformats.org/officeDocument/2006/relationships/image" Target="../media/image3.png"/><Relationship Id="rId12" Type="http://schemas.openxmlformats.org/officeDocument/2006/relationships/image" Target="../media/image8.svg"/><Relationship Id="rId17" Type="http://schemas.openxmlformats.org/officeDocument/2006/relationships/image" Target="../media/image13.png"/><Relationship Id="rId2" Type="http://schemas.openxmlformats.org/officeDocument/2006/relationships/tags" Target="../tags/tag10.xml"/><Relationship Id="rId16" Type="http://schemas.openxmlformats.org/officeDocument/2006/relationships/image" Target="../media/image12.svg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5.bin"/><Relationship Id="rId15" Type="http://schemas.openxmlformats.org/officeDocument/2006/relationships/image" Target="../media/image11.png"/><Relationship Id="rId10" Type="http://schemas.openxmlformats.org/officeDocument/2006/relationships/image" Target="../media/image6.sv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5.png"/><Relationship Id="rId14" Type="http://schemas.openxmlformats.org/officeDocument/2006/relationships/image" Target="../media/image10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8FC249C-2D95-4133-9A0E-096AD214DB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2321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989E8A78-31A3-4C38-B316-7DA1A66041B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30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B19294-E725-4649-89C5-7E0CB277A5F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9386" y="1733551"/>
            <a:ext cx="11926889" cy="2019300"/>
          </a:xfrm>
        </p:spPr>
        <p:txBody>
          <a:bodyPr>
            <a:normAutofit fontScale="90000"/>
          </a:bodyPr>
          <a:lstStyle/>
          <a:p>
            <a:pPr algn="l"/>
            <a:r>
              <a:rPr lang="en-US" dirty="0"/>
              <a:t>Sales performance Deep Dive and forecast: An ML Driven Analytics Solut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EBAEE6-03C3-414F-978E-EAAFE196E2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9386" y="3752850"/>
            <a:ext cx="11641138" cy="390525"/>
          </a:xfrm>
        </p:spPr>
        <p:txBody>
          <a:bodyPr>
            <a:normAutofit lnSpcReduction="10000"/>
          </a:bodyPr>
          <a:lstStyle/>
          <a:p>
            <a:pPr lvl="0" algn="l">
              <a:lnSpc>
                <a:spcPct val="85000"/>
              </a:lnSpc>
              <a:spcBef>
                <a:spcPct val="0"/>
              </a:spcBef>
              <a:defRPr/>
            </a:pPr>
            <a:r>
              <a:rPr lang="en-US" sz="2400" b="1" dirty="0"/>
              <a:t>House of Analytics</a:t>
            </a:r>
            <a:r>
              <a:rPr lang="en-US" sz="2400" b="1" spc="300" dirty="0">
                <a:latin typeface="PayPal Sans Big" panose="020B0503040504040204" pitchFamily="34" charset="0"/>
              </a:rPr>
              <a:t>: </a:t>
            </a:r>
            <a:r>
              <a:rPr lang="en-US" sz="2400" dirty="0"/>
              <a:t>Unilever Data Science POC Use Case</a:t>
            </a:r>
            <a:endParaRPr lang="en-US" sz="2400" b="1" spc="300" dirty="0">
              <a:latin typeface="PayPal Sans Big" panose="020B0503040504040204" pitchFamily="34" charset="0"/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2485AB39-EC89-4BA9-A3F4-31BBF6EDE2C5}"/>
              </a:ext>
            </a:extLst>
          </p:cNvPr>
          <p:cNvSpPr txBox="1">
            <a:spLocks/>
          </p:cNvSpPr>
          <p:nvPr/>
        </p:nvSpPr>
        <p:spPr>
          <a:xfrm>
            <a:off x="179386" y="4254500"/>
            <a:ext cx="9144000" cy="1655762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10000"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/>
              <a:buNone/>
              <a:defRPr sz="2100" kern="1200" cap="small">
                <a:solidFill>
                  <a:schemeClr val="tx1"/>
                </a:solidFill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  <a:outerShdw blurRad="44450" dist="12700" dir="13860000" algn="tl" rotWithShape="0">
                    <a:srgbClr val="000000">
                      <a:alpha val="20000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/>
              <a:buNone/>
              <a:defRPr sz="1800" kern="1200" cap="small">
                <a:solidFill>
                  <a:schemeClr val="tx1">
                    <a:tint val="75000"/>
                  </a:schemeClr>
                </a:solidFill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  <a:outerShdw blurRad="44450" dist="12700" dir="13860000" algn="tl" rotWithShape="0">
                    <a:srgbClr val="000000">
                      <a:alpha val="20000"/>
                    </a:srgbClr>
                  </a:outerShdw>
                </a:effectLst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/>
              <a:buNone/>
              <a:defRPr sz="1600" kern="1200" cap="small">
                <a:solidFill>
                  <a:schemeClr val="tx1">
                    <a:tint val="75000"/>
                  </a:schemeClr>
                </a:solidFill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  <a:outerShdw blurRad="44450" dist="12700" dir="13860000" algn="tl" rotWithShape="0">
                    <a:srgbClr val="000000">
                      <a:alpha val="20000"/>
                    </a:srgbClr>
                  </a:outerShdw>
                </a:effectLst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/>
              <a:buNone/>
              <a:defRPr sz="1400" kern="1200" cap="small">
                <a:solidFill>
                  <a:schemeClr val="tx1">
                    <a:tint val="75000"/>
                  </a:schemeClr>
                </a:solidFill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  <a:outerShdw blurRad="44450" dist="12700" dir="13860000" algn="tl" rotWithShape="0">
                    <a:srgbClr val="000000">
                      <a:alpha val="20000"/>
                    </a:srgbClr>
                  </a:outerShdw>
                </a:effectLst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/>
              <a:buNone/>
              <a:defRPr sz="1400" kern="1200" cap="small">
                <a:solidFill>
                  <a:schemeClr val="tx1">
                    <a:tint val="75000"/>
                  </a:schemeClr>
                </a:solidFill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  <a:outerShdw blurRad="44450" dist="12700" dir="13860000" algn="tl" rotWithShape="0">
                    <a:srgbClr val="000000">
                      <a:alpha val="20000"/>
                    </a:srgbClr>
                  </a:outerShdw>
                </a:effectLst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/>
              <a:buNone/>
              <a:defRPr sz="1200" kern="1200" cap="small">
                <a:solidFill>
                  <a:schemeClr val="tx1">
                    <a:tint val="75000"/>
                  </a:schemeClr>
                </a:solidFill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  <a:outerShdw blurRad="44450" dist="12700" dir="13860000" algn="tl" rotWithShape="0">
                    <a:srgbClr val="000000">
                      <a:alpha val="20000"/>
                    </a:srgbClr>
                  </a:outerShdw>
                </a:effectLst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/>
              <a:buNone/>
              <a:defRPr sz="1200" kern="1200" cap="small">
                <a:solidFill>
                  <a:schemeClr val="tx1">
                    <a:tint val="75000"/>
                  </a:schemeClr>
                </a:solidFill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  <a:outerShdw blurRad="44450" dist="12700" dir="13860000" algn="tl" rotWithShape="0">
                    <a:srgbClr val="000000">
                      <a:alpha val="20000"/>
                    </a:srgbClr>
                  </a:outerShdw>
                </a:effectLst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/>
              <a:buNone/>
              <a:defRPr sz="1200" kern="1200" cap="small">
                <a:solidFill>
                  <a:schemeClr val="tx1">
                    <a:tint val="75000"/>
                  </a:schemeClr>
                </a:solidFill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  <a:outerShdw blurRad="44450" dist="12700" dir="13860000" algn="tl" rotWithShape="0">
                    <a:srgbClr val="000000">
                      <a:alpha val="20000"/>
                    </a:srgbClr>
                  </a:outerShdw>
                </a:effectLst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/>
              <a:buNone/>
              <a:defRPr sz="1200" kern="1200" cap="small">
                <a:solidFill>
                  <a:schemeClr val="tx1">
                    <a:tint val="75000"/>
                  </a:schemeClr>
                </a:solidFill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  <a:outerShdw blurRad="44450" dist="12700" dir="13860000" algn="tl" rotWithShape="0">
                    <a:srgbClr val="000000">
                      <a:alpha val="20000"/>
                    </a:srgb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600" dirty="0"/>
              <a:t>Presenters:</a:t>
            </a:r>
          </a:p>
          <a:p>
            <a:pPr algn="l"/>
            <a:r>
              <a:rPr lang="en-US" sz="1600" dirty="0" err="1"/>
              <a:t>Pranov</a:t>
            </a:r>
            <a:r>
              <a:rPr lang="en-US" sz="1600" dirty="0"/>
              <a:t> </a:t>
            </a:r>
            <a:r>
              <a:rPr lang="en-US" sz="1600" dirty="0" err="1"/>
              <a:t>Shobhan</a:t>
            </a:r>
            <a:r>
              <a:rPr lang="en-US" sz="1600" dirty="0"/>
              <a:t> Mishra</a:t>
            </a:r>
          </a:p>
          <a:p>
            <a:pPr algn="l"/>
            <a:r>
              <a:rPr lang="en-US" sz="1600" dirty="0"/>
              <a:t>Manav Tyagi</a:t>
            </a:r>
          </a:p>
          <a:p>
            <a:pPr algn="l"/>
            <a:r>
              <a:rPr lang="en-US" sz="1600" dirty="0"/>
              <a:t>Aniket Chhabra</a:t>
            </a:r>
          </a:p>
          <a:p>
            <a:pPr algn="l"/>
            <a:r>
              <a:rPr lang="en-US" sz="1600" dirty="0" err="1"/>
              <a:t>Swapneel</a:t>
            </a:r>
            <a:r>
              <a:rPr lang="en-US" sz="1600" dirty="0"/>
              <a:t> </a:t>
            </a:r>
            <a:r>
              <a:rPr lang="en-US" sz="1600" dirty="0" err="1"/>
              <a:t>Gitccha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8921627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B290CC6-35C4-4356-88DA-0C3D2421A0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4068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B290CC6-35C4-4356-88DA-0C3D2421A0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64AE23D-B881-4DDC-8BBC-366FEFC6604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90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7B7DD39-3962-4E61-9FE3-5254EC8991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612" y="-1"/>
            <a:ext cx="12079287" cy="676275"/>
          </a:xfrm>
        </p:spPr>
        <p:txBody>
          <a:bodyPr>
            <a:normAutofit/>
          </a:bodyPr>
          <a:lstStyle/>
          <a:p>
            <a:r>
              <a:rPr lang="en-US" sz="2900" dirty="0"/>
              <a:t>Why do we exist: An elevator Pitch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8641B4-A528-4D95-A519-912E4EF8F7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2712" y="1781174"/>
            <a:ext cx="11926888" cy="312420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/>
              <a:t>Our mission is to help Unilever: </a:t>
            </a:r>
          </a:p>
          <a:p>
            <a:r>
              <a:rPr lang="en-US" sz="2400" dirty="0"/>
              <a:t>make distinctive and substantial improvements in business using data Science and Machine Learning</a:t>
            </a:r>
          </a:p>
          <a:p>
            <a:r>
              <a:rPr lang="en-US" sz="2400" dirty="0"/>
              <a:t>Tie data to business decisions that drive long term strategy as well as Business growth</a:t>
            </a:r>
          </a:p>
        </p:txBody>
      </p:sp>
    </p:spTree>
    <p:extLst>
      <p:ext uri="{BB962C8B-B14F-4D97-AF65-F5344CB8AC3E}">
        <p14:creationId xmlns:p14="http://schemas.microsoft.com/office/powerpoint/2010/main" val="23116228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B290CC6-35C4-4356-88DA-0C3D2421A0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2512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B290CC6-35C4-4356-88DA-0C3D2421A0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64AE23D-B881-4DDC-8BBC-366FEFC6604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C49856C-47B4-4C59-BF22-AC8ED534A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1390852"/>
            <a:ext cx="3575304" cy="2112264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F996B79B-4C59-4599-9FFA-729DF8A70BE6}"/>
              </a:ext>
            </a:extLst>
          </p:cNvPr>
          <p:cNvCxnSpPr/>
          <p:nvPr/>
        </p:nvCxnSpPr>
        <p:spPr>
          <a:xfrm>
            <a:off x="600075" y="2124075"/>
            <a:ext cx="3190875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268DD28-67BC-4235-85E6-C2DC80A88B23}"/>
              </a:ext>
            </a:extLst>
          </p:cNvPr>
          <p:cNvCxnSpPr>
            <a:cxnSpLocks/>
          </p:cNvCxnSpPr>
          <p:nvPr/>
        </p:nvCxnSpPr>
        <p:spPr>
          <a:xfrm>
            <a:off x="5486400" y="1433714"/>
            <a:ext cx="0" cy="365760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204F3A00-91D2-41D4-A9AE-DC2409A34394}"/>
              </a:ext>
            </a:extLst>
          </p:cNvPr>
          <p:cNvSpPr txBox="1">
            <a:spLocks/>
          </p:cNvSpPr>
          <p:nvPr/>
        </p:nvSpPr>
        <p:spPr>
          <a:xfrm>
            <a:off x="6096000" y="1433714"/>
            <a:ext cx="5495544" cy="3881236"/>
          </a:xfrm>
          <a:prstGeom prst="rect">
            <a:avLst/>
          </a:prstGeom>
        </p:spPr>
        <p:txBody>
          <a:bodyPr/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/>
              <a:buChar char="•"/>
              <a:defRPr sz="2000" kern="1200" cap="small">
                <a:solidFill>
                  <a:schemeClr val="tx1"/>
                </a:solidFill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  <a:outerShdw blurRad="44450" dist="12700" dir="13860000" algn="tl" rotWithShape="0">
                    <a:srgbClr val="000000">
                      <a:alpha val="20000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/>
              <a:buChar char="•"/>
              <a:defRPr sz="1800" kern="1200" cap="small">
                <a:solidFill>
                  <a:schemeClr val="tx1"/>
                </a:solidFill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  <a:outerShdw blurRad="44450" dist="12700" dir="13860000" algn="tl" rotWithShape="0">
                    <a:srgbClr val="000000">
                      <a:alpha val="20000"/>
                    </a:srgbClr>
                  </a:outerShdw>
                </a:effectLst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/>
              <a:buChar char="•"/>
              <a:defRPr sz="1600" kern="1200" cap="small">
                <a:solidFill>
                  <a:schemeClr val="tx1"/>
                </a:solidFill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  <a:outerShdw blurRad="44450" dist="12700" dir="13860000" algn="tl" rotWithShape="0">
                    <a:srgbClr val="000000">
                      <a:alpha val="20000"/>
                    </a:srgbClr>
                  </a:outerShdw>
                </a:effectLst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/>
              <a:buChar char="•"/>
              <a:defRPr sz="1400" kern="1200" cap="small">
                <a:solidFill>
                  <a:schemeClr val="tx1"/>
                </a:solidFill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  <a:outerShdw blurRad="44450" dist="12700" dir="13860000" algn="tl" rotWithShape="0">
                    <a:srgbClr val="000000">
                      <a:alpha val="20000"/>
                    </a:srgbClr>
                  </a:outerShdw>
                </a:effectLst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/>
              <a:buChar char="•"/>
              <a:defRPr sz="1400" kern="1200" cap="small">
                <a:solidFill>
                  <a:schemeClr val="tx1"/>
                </a:solidFill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  <a:outerShdw blurRad="44450" dist="12700" dir="13860000" algn="tl" rotWithShape="0">
                    <a:srgbClr val="000000">
                      <a:alpha val="20000"/>
                    </a:srgbClr>
                  </a:outerShdw>
                </a:effectLst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/>
              <a:buChar char="•"/>
              <a:defRPr sz="1200" kern="1200" cap="small">
                <a:solidFill>
                  <a:schemeClr val="tx1"/>
                </a:solidFill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  <a:outerShdw blurRad="44450" dist="12700" dir="13860000" algn="tl" rotWithShape="0">
                    <a:srgbClr val="000000">
                      <a:alpha val="20000"/>
                    </a:srgbClr>
                  </a:outerShdw>
                </a:effectLst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/>
              <a:buChar char="•"/>
              <a:defRPr sz="1200" kern="1200" cap="small">
                <a:solidFill>
                  <a:schemeClr val="tx1"/>
                </a:solidFill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  <a:outerShdw blurRad="44450" dist="12700" dir="13860000" algn="tl" rotWithShape="0">
                    <a:srgbClr val="000000">
                      <a:alpha val="20000"/>
                    </a:srgbClr>
                  </a:outerShdw>
                </a:effectLst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/>
              <a:buChar char="•"/>
              <a:defRPr sz="1200" kern="1200" cap="small">
                <a:solidFill>
                  <a:schemeClr val="tx1"/>
                </a:solidFill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  <a:outerShdw blurRad="44450" dist="12700" dir="13860000" algn="tl" rotWithShape="0">
                    <a:srgbClr val="000000">
                      <a:alpha val="20000"/>
                    </a:srgbClr>
                  </a:outerShdw>
                </a:effectLst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/>
              <a:buChar char="•"/>
              <a:defRPr sz="1200" kern="1200" cap="small">
                <a:solidFill>
                  <a:schemeClr val="tx1"/>
                </a:solidFill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  <a:outerShdw blurRad="44450" dist="12700" dir="13860000" algn="tl" rotWithShape="0">
                    <a:srgbClr val="000000">
                      <a:alpha val="20000"/>
                    </a:srgb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+mj-lt"/>
              <a:buAutoNum type="arabicPeriod"/>
            </a:pPr>
            <a:r>
              <a:rPr lang="en-US" dirty="0"/>
              <a:t>Executive Update – </a:t>
            </a:r>
            <a:r>
              <a:rPr lang="en-US" i="1" u="sng" dirty="0"/>
              <a:t>to be added post completion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Business overview: Problem understanding &amp; Analysis Architecture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Model Deployment Architecture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Modeling Techniques: </a:t>
            </a:r>
            <a:r>
              <a:rPr lang="en-US" i="1" u="sng" dirty="0"/>
              <a:t>to be added post comple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47799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B290CC6-35C4-4356-88DA-0C3D2421A0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7418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64AE23D-B881-4DDC-8BBC-366FEFC6604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90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C37035A1-0095-46EB-971D-F7A4D1332CC7}"/>
              </a:ext>
            </a:extLst>
          </p:cNvPr>
          <p:cNvSpPr/>
          <p:nvPr/>
        </p:nvSpPr>
        <p:spPr>
          <a:xfrm>
            <a:off x="2019299" y="962024"/>
            <a:ext cx="9944099" cy="1714502"/>
          </a:xfrm>
          <a:prstGeom prst="roundRect">
            <a:avLst/>
          </a:prstGeom>
          <a:solidFill>
            <a:srgbClr val="F4B54B">
              <a:alpha val="38039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500" dirty="0"/>
              <a:t>Build a process to estimate the sales forecast due to change in brand’s business execution strategy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500" dirty="0"/>
              <a:t>Deep dive to the root cause of the factors contributing to brand sales 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500" dirty="0"/>
              <a:t>Leverage data, develop ML algorithm, provide sales intelligence using forecasting analysis to enable sales team to do their job easi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7B7DD39-3962-4E61-9FE3-5254EC8991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62" y="95250"/>
            <a:ext cx="12085804" cy="819150"/>
          </a:xfrm>
        </p:spPr>
        <p:txBody>
          <a:bodyPr>
            <a:normAutofit fontScale="90000"/>
          </a:bodyPr>
          <a:lstStyle/>
          <a:p>
            <a:r>
              <a:rPr lang="en-US" dirty="0"/>
              <a:t>Business overview: Problem understanding &amp; Requirement Gathering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37671BF6-0876-4E3D-A9A0-2792B86D89DC}"/>
              </a:ext>
            </a:extLst>
          </p:cNvPr>
          <p:cNvSpPr/>
          <p:nvPr/>
        </p:nvSpPr>
        <p:spPr>
          <a:xfrm>
            <a:off x="114302" y="1531094"/>
            <a:ext cx="1981199" cy="62758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Background and Objective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BAF8B508-7FB8-43F8-87E6-A1233600421E}"/>
              </a:ext>
            </a:extLst>
          </p:cNvPr>
          <p:cNvSpPr/>
          <p:nvPr/>
        </p:nvSpPr>
        <p:spPr>
          <a:xfrm>
            <a:off x="114302" y="3729037"/>
            <a:ext cx="1707068" cy="2967033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ayPal Sans Big Light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D089C04-B237-43D5-BDA2-FC7FF2077668}"/>
              </a:ext>
            </a:extLst>
          </p:cNvPr>
          <p:cNvSpPr/>
          <p:nvPr/>
        </p:nvSpPr>
        <p:spPr>
          <a:xfrm>
            <a:off x="168194" y="3749159"/>
            <a:ext cx="162576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b="1" dirty="0">
                <a:solidFill>
                  <a:schemeClr val="lt1"/>
                </a:solidFill>
              </a:rPr>
              <a:t>Data Element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36BD9F3-9CE9-4F28-9903-6834F0A6F7C8}"/>
              </a:ext>
            </a:extLst>
          </p:cNvPr>
          <p:cNvSpPr txBox="1"/>
          <p:nvPr/>
        </p:nvSpPr>
        <p:spPr>
          <a:xfrm>
            <a:off x="115467" y="5503166"/>
            <a:ext cx="1707068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>
                <a:solidFill>
                  <a:schemeClr val="lt1"/>
                </a:solidFill>
              </a:rPr>
              <a:t>Collect </a:t>
            </a:r>
          </a:p>
          <a:p>
            <a:pPr algn="ctr"/>
            <a:r>
              <a:rPr lang="en-US" sz="1400" dirty="0">
                <a:solidFill>
                  <a:schemeClr val="lt1"/>
                </a:solidFill>
              </a:rPr>
              <a:t>Marketing and Sales data and add dimensions</a:t>
            </a:r>
          </a:p>
        </p:txBody>
      </p:sp>
      <p:pic>
        <p:nvPicPr>
          <p:cNvPr id="38" name="Graphic 37" descr="Database">
            <a:extLst>
              <a:ext uri="{FF2B5EF4-FFF2-40B4-BE49-F238E27FC236}">
                <a16:creationId xmlns:a16="http://schemas.microsoft.com/office/drawing/2014/main" id="{EF95EDFC-9F29-4807-AFFD-2FB1F876170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4149" y="4346932"/>
            <a:ext cx="976392" cy="976392"/>
          </a:xfrm>
          <a:prstGeom prst="rect">
            <a:avLst/>
          </a:prstGeom>
        </p:spPr>
      </p:pic>
      <p:sp>
        <p:nvSpPr>
          <p:cNvPr id="39" name="Arrow: Chevron 38">
            <a:extLst>
              <a:ext uri="{FF2B5EF4-FFF2-40B4-BE49-F238E27FC236}">
                <a16:creationId xmlns:a16="http://schemas.microsoft.com/office/drawing/2014/main" id="{0678CD67-CD35-495B-99CF-2BB6555FF9FA}"/>
              </a:ext>
            </a:extLst>
          </p:cNvPr>
          <p:cNvSpPr/>
          <p:nvPr/>
        </p:nvSpPr>
        <p:spPr>
          <a:xfrm>
            <a:off x="1914583" y="4967980"/>
            <a:ext cx="333502" cy="456622"/>
          </a:xfrm>
          <a:prstGeom prst="chevron">
            <a:avLst>
              <a:gd name="adj" fmla="val 70123"/>
            </a:avLst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19AEE83D-4BB0-47C6-9144-5BCDD009DA75}"/>
              </a:ext>
            </a:extLst>
          </p:cNvPr>
          <p:cNvSpPr/>
          <p:nvPr/>
        </p:nvSpPr>
        <p:spPr>
          <a:xfrm>
            <a:off x="2314575" y="3729037"/>
            <a:ext cx="5343525" cy="2967033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ayPal Sans Big Light"/>
              <a:ea typeface="+mn-ea"/>
              <a:cs typeface="+mn-cs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73391B4-47A1-490D-88EE-740A31E3A124}"/>
              </a:ext>
            </a:extLst>
          </p:cNvPr>
          <p:cNvSpPr/>
          <p:nvPr/>
        </p:nvSpPr>
        <p:spPr>
          <a:xfrm>
            <a:off x="4147394" y="3749159"/>
            <a:ext cx="176202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b="1" dirty="0">
                <a:solidFill>
                  <a:schemeClr val="lt1"/>
                </a:solidFill>
              </a:rPr>
              <a:t>Data Deep Dive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28FFC07-1357-46BF-97DA-2FBF7B479772}"/>
              </a:ext>
            </a:extLst>
          </p:cNvPr>
          <p:cNvSpPr txBox="1"/>
          <p:nvPr/>
        </p:nvSpPr>
        <p:spPr>
          <a:xfrm>
            <a:off x="2448371" y="5510332"/>
            <a:ext cx="1544697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500" dirty="0">
                <a:solidFill>
                  <a:schemeClr val="lt1"/>
                </a:solidFill>
              </a:rPr>
              <a:t>Exploratory Data Analysis</a:t>
            </a:r>
          </a:p>
        </p:txBody>
      </p:sp>
      <p:pic>
        <p:nvPicPr>
          <p:cNvPr id="47" name="Graphic 46" descr="Bar chart">
            <a:extLst>
              <a:ext uri="{FF2B5EF4-FFF2-40B4-BE49-F238E27FC236}">
                <a16:creationId xmlns:a16="http://schemas.microsoft.com/office/drawing/2014/main" id="{0EA45B2C-1F07-4B9A-9759-E44A83042D1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378169" y="4511105"/>
            <a:ext cx="913497" cy="913497"/>
          </a:xfrm>
          <a:prstGeom prst="rect">
            <a:avLst/>
          </a:prstGeom>
        </p:spPr>
      </p:pic>
      <p:pic>
        <p:nvPicPr>
          <p:cNvPr id="49" name="Graphic 48" descr="Research">
            <a:extLst>
              <a:ext uri="{FF2B5EF4-FFF2-40B4-BE49-F238E27FC236}">
                <a16:creationId xmlns:a16="http://schemas.microsoft.com/office/drawing/2014/main" id="{F208245C-DE91-444E-B401-7FE08B9140B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249294" y="4511105"/>
            <a:ext cx="913497" cy="913497"/>
          </a:xfrm>
          <a:prstGeom prst="rect">
            <a:avLst/>
          </a:prstGeom>
        </p:spPr>
      </p:pic>
      <p:sp>
        <p:nvSpPr>
          <p:cNvPr id="54" name="TextBox 53">
            <a:extLst>
              <a:ext uri="{FF2B5EF4-FFF2-40B4-BE49-F238E27FC236}">
                <a16:creationId xmlns:a16="http://schemas.microsoft.com/office/drawing/2014/main" id="{196A1D1E-21BF-46EA-A956-C8C7F726C018}"/>
              </a:ext>
            </a:extLst>
          </p:cNvPr>
          <p:cNvSpPr txBox="1"/>
          <p:nvPr/>
        </p:nvSpPr>
        <p:spPr>
          <a:xfrm>
            <a:off x="4372341" y="4578401"/>
            <a:ext cx="2050547" cy="146193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285750" indent="-2857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lt1"/>
                </a:solidFill>
              </a:rPr>
              <a:t>Removing Inconsistencies</a:t>
            </a:r>
          </a:p>
          <a:p>
            <a:pPr marL="285750" indent="-2857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lt1"/>
                </a:solidFill>
              </a:rPr>
              <a:t>Univariate Analysis</a:t>
            </a:r>
          </a:p>
          <a:p>
            <a:pPr marL="285750" indent="-2857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lt1"/>
                </a:solidFill>
              </a:rPr>
              <a:t>Multivariate Analysis</a:t>
            </a:r>
          </a:p>
          <a:p>
            <a:pPr marL="285750" indent="-2857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lt1"/>
                </a:solidFill>
              </a:rPr>
              <a:t>Transformations</a:t>
            </a:r>
          </a:p>
        </p:txBody>
      </p:sp>
      <p:pic>
        <p:nvPicPr>
          <p:cNvPr id="56" name="Graphic 55" descr="Presentation with bar chart">
            <a:extLst>
              <a:ext uri="{FF2B5EF4-FFF2-40B4-BE49-F238E27FC236}">
                <a16:creationId xmlns:a16="http://schemas.microsoft.com/office/drawing/2014/main" id="{47E2A205-A8A8-4E30-BB45-AC4BCF5998F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508671" y="4506457"/>
            <a:ext cx="914400" cy="914400"/>
          </a:xfrm>
          <a:prstGeom prst="rect">
            <a:avLst/>
          </a:prstGeom>
        </p:spPr>
      </p:pic>
      <p:sp>
        <p:nvSpPr>
          <p:cNvPr id="58" name="TextBox 57">
            <a:extLst>
              <a:ext uri="{FF2B5EF4-FFF2-40B4-BE49-F238E27FC236}">
                <a16:creationId xmlns:a16="http://schemas.microsoft.com/office/drawing/2014/main" id="{3DD3246F-79FD-4C26-9691-2DD1EE630AF8}"/>
              </a:ext>
            </a:extLst>
          </p:cNvPr>
          <p:cNvSpPr txBox="1"/>
          <p:nvPr/>
        </p:nvSpPr>
        <p:spPr>
          <a:xfrm>
            <a:off x="6198217" y="5488992"/>
            <a:ext cx="1544697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500" dirty="0">
                <a:solidFill>
                  <a:schemeClr val="lt1"/>
                </a:solidFill>
              </a:rPr>
              <a:t>Build Model Ready Data</a:t>
            </a:r>
          </a:p>
        </p:txBody>
      </p:sp>
      <p:sp>
        <p:nvSpPr>
          <p:cNvPr id="59" name="Arrow: Chevron 58">
            <a:extLst>
              <a:ext uri="{FF2B5EF4-FFF2-40B4-BE49-F238E27FC236}">
                <a16:creationId xmlns:a16="http://schemas.microsoft.com/office/drawing/2014/main" id="{6D1E6A74-7EDB-4FEB-8F68-3183676A7FFC}"/>
              </a:ext>
            </a:extLst>
          </p:cNvPr>
          <p:cNvSpPr/>
          <p:nvPr/>
        </p:nvSpPr>
        <p:spPr>
          <a:xfrm>
            <a:off x="7768839" y="4963657"/>
            <a:ext cx="333502" cy="456622"/>
          </a:xfrm>
          <a:prstGeom prst="chevron">
            <a:avLst>
              <a:gd name="adj" fmla="val 70123"/>
            </a:avLst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60" name="Rectangle: Rounded Corners 59">
            <a:extLst>
              <a:ext uri="{FF2B5EF4-FFF2-40B4-BE49-F238E27FC236}">
                <a16:creationId xmlns:a16="http://schemas.microsoft.com/office/drawing/2014/main" id="{229EE709-B95B-43A1-815B-762564264C21}"/>
              </a:ext>
            </a:extLst>
          </p:cNvPr>
          <p:cNvSpPr/>
          <p:nvPr/>
        </p:nvSpPr>
        <p:spPr>
          <a:xfrm>
            <a:off x="8186471" y="3768209"/>
            <a:ext cx="1694973" cy="2967033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ayPal Sans Big Light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83BE555C-4AB4-4EC7-AE66-6E9752A6C9BE}"/>
              </a:ext>
            </a:extLst>
          </p:cNvPr>
          <p:cNvSpPr/>
          <p:nvPr/>
        </p:nvSpPr>
        <p:spPr>
          <a:xfrm>
            <a:off x="8521794" y="3796784"/>
            <a:ext cx="102944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b="1" dirty="0">
                <a:solidFill>
                  <a:schemeClr val="lt1"/>
                </a:solidFill>
              </a:rPr>
              <a:t>Sales </a:t>
            </a:r>
          </a:p>
          <a:p>
            <a:pPr algn="ctr"/>
            <a:r>
              <a:rPr lang="en-US" sz="1600" b="1" dirty="0">
                <a:solidFill>
                  <a:schemeClr val="lt1"/>
                </a:solidFill>
              </a:rPr>
              <a:t>Forecast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115DFF3B-E8E2-4303-A0CD-213DAD21DFC9}"/>
              </a:ext>
            </a:extLst>
          </p:cNvPr>
          <p:cNvSpPr txBox="1"/>
          <p:nvPr/>
        </p:nvSpPr>
        <p:spPr>
          <a:xfrm>
            <a:off x="8194904" y="5503166"/>
            <a:ext cx="1707068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500" dirty="0">
                <a:solidFill>
                  <a:schemeClr val="lt1"/>
                </a:solidFill>
              </a:rPr>
              <a:t>Build an ML algorithm to estimate sales forecast</a:t>
            </a:r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DCBCA8FD-2502-40C6-B9F0-B166A1E1D591}"/>
              </a:ext>
            </a:extLst>
          </p:cNvPr>
          <p:cNvSpPr/>
          <p:nvPr/>
        </p:nvSpPr>
        <p:spPr>
          <a:xfrm>
            <a:off x="10387765" y="3768209"/>
            <a:ext cx="1694973" cy="2967033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ayPal Sans Big Light"/>
              <a:ea typeface="+mn-ea"/>
              <a:cs typeface="+mn-cs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B759E556-6803-47F7-821C-AC4CA8C338CD}"/>
              </a:ext>
            </a:extLst>
          </p:cNvPr>
          <p:cNvSpPr/>
          <p:nvPr/>
        </p:nvSpPr>
        <p:spPr>
          <a:xfrm>
            <a:off x="10573626" y="3796784"/>
            <a:ext cx="140455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b="1" dirty="0">
                <a:solidFill>
                  <a:schemeClr val="lt1"/>
                </a:solidFill>
              </a:rPr>
              <a:t>Deployment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5DDF4D92-BDF4-4C3A-AE8F-F705B2D47B15}"/>
              </a:ext>
            </a:extLst>
          </p:cNvPr>
          <p:cNvSpPr txBox="1"/>
          <p:nvPr/>
        </p:nvSpPr>
        <p:spPr>
          <a:xfrm>
            <a:off x="10396198" y="5503166"/>
            <a:ext cx="1707068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500" dirty="0">
                <a:solidFill>
                  <a:schemeClr val="lt1"/>
                </a:solidFill>
              </a:rPr>
              <a:t>Build framework to deploy model using technical stacks </a:t>
            </a:r>
          </a:p>
        </p:txBody>
      </p:sp>
      <p:pic>
        <p:nvPicPr>
          <p:cNvPr id="69" name="Graphic 68" descr="Upward trend">
            <a:extLst>
              <a:ext uri="{FF2B5EF4-FFF2-40B4-BE49-F238E27FC236}">
                <a16:creationId xmlns:a16="http://schemas.microsoft.com/office/drawing/2014/main" id="{F324A60B-C925-404E-AAB4-F55EABC60D26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550526" y="4506457"/>
            <a:ext cx="914400" cy="914400"/>
          </a:xfrm>
          <a:prstGeom prst="rect">
            <a:avLst/>
          </a:prstGeom>
        </p:spPr>
      </p:pic>
      <p:pic>
        <p:nvPicPr>
          <p:cNvPr id="71" name="Graphic 70" descr="Head with gears">
            <a:extLst>
              <a:ext uri="{FF2B5EF4-FFF2-40B4-BE49-F238E27FC236}">
                <a16:creationId xmlns:a16="http://schemas.microsoft.com/office/drawing/2014/main" id="{0D1EE6AF-0642-4505-933B-7EBB1BFC8DFB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0792532" y="4505879"/>
            <a:ext cx="914400" cy="914400"/>
          </a:xfrm>
          <a:prstGeom prst="rect">
            <a:avLst/>
          </a:prstGeom>
        </p:spPr>
      </p:pic>
      <p:sp>
        <p:nvSpPr>
          <p:cNvPr id="72" name="Arrow: Chevron 71">
            <a:extLst>
              <a:ext uri="{FF2B5EF4-FFF2-40B4-BE49-F238E27FC236}">
                <a16:creationId xmlns:a16="http://schemas.microsoft.com/office/drawing/2014/main" id="{9C8CA31A-4D41-44F4-A1AC-07C82E560789}"/>
              </a:ext>
            </a:extLst>
          </p:cNvPr>
          <p:cNvSpPr/>
          <p:nvPr/>
        </p:nvSpPr>
        <p:spPr>
          <a:xfrm>
            <a:off x="9986691" y="4963079"/>
            <a:ext cx="333502" cy="456622"/>
          </a:xfrm>
          <a:prstGeom prst="chevron">
            <a:avLst>
              <a:gd name="adj" fmla="val 70123"/>
            </a:avLst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77" name="Rectangle: Rounded Corners 76">
            <a:extLst>
              <a:ext uri="{FF2B5EF4-FFF2-40B4-BE49-F238E27FC236}">
                <a16:creationId xmlns:a16="http://schemas.microsoft.com/office/drawing/2014/main" id="{569F10A7-647D-4F57-ACE9-23E2976D746A}"/>
              </a:ext>
            </a:extLst>
          </p:cNvPr>
          <p:cNvSpPr/>
          <p:nvPr/>
        </p:nvSpPr>
        <p:spPr>
          <a:xfrm>
            <a:off x="4591416" y="2944680"/>
            <a:ext cx="2610646" cy="62758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Analysis Architecture</a:t>
            </a:r>
          </a:p>
        </p:txBody>
      </p:sp>
    </p:spTree>
    <p:extLst>
      <p:ext uri="{BB962C8B-B14F-4D97-AF65-F5344CB8AC3E}">
        <p14:creationId xmlns:p14="http://schemas.microsoft.com/office/powerpoint/2010/main" val="38152929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B290CC6-35C4-4356-88DA-0C3D2421A0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79477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B290CC6-35C4-4356-88DA-0C3D2421A0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64AE23D-B881-4DDC-8BBC-366FEFC6604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90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7B7DD39-3962-4E61-9FE3-5254EC8991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612" y="-1"/>
            <a:ext cx="12079287" cy="676275"/>
          </a:xfrm>
        </p:spPr>
        <p:txBody>
          <a:bodyPr>
            <a:normAutofit/>
          </a:bodyPr>
          <a:lstStyle/>
          <a:p>
            <a:r>
              <a:rPr lang="en-US" sz="2900" dirty="0"/>
              <a:t>Model Deployment Architecture: An Automated Solution</a:t>
            </a:r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E7EC6F6D-3551-46F1-A4BA-55D87F11D5F5}"/>
              </a:ext>
            </a:extLst>
          </p:cNvPr>
          <p:cNvSpPr/>
          <p:nvPr/>
        </p:nvSpPr>
        <p:spPr>
          <a:xfrm rot="5400000">
            <a:off x="9840177" y="2669251"/>
            <a:ext cx="3058973" cy="1309790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dash"/>
            <a:miter lim="800000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600" dirty="0" err="1">
              <a:solidFill>
                <a:sysClr val="window" lastClr="FFFFFF"/>
              </a:solidFill>
              <a:latin typeface="PayPal Sans Big Light"/>
            </a:endParaRPr>
          </a:p>
        </p:txBody>
      </p:sp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DD64E542-6E1A-4C19-BF93-4ED95A5221F3}"/>
              </a:ext>
            </a:extLst>
          </p:cNvPr>
          <p:cNvSpPr/>
          <p:nvPr/>
        </p:nvSpPr>
        <p:spPr>
          <a:xfrm>
            <a:off x="5758109" y="1669135"/>
            <a:ext cx="3207162" cy="1017867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dash"/>
            <a:miter lim="800000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PayPal Sans Big Light"/>
              <a:ea typeface="+mn-ea"/>
              <a:cs typeface="+mn-cs"/>
            </a:endParaRPr>
          </a:p>
        </p:txBody>
      </p: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0F17205A-D6E4-40B3-82E1-5BD8FEE5FFA6}"/>
              </a:ext>
            </a:extLst>
          </p:cNvPr>
          <p:cNvSpPr/>
          <p:nvPr/>
        </p:nvSpPr>
        <p:spPr>
          <a:xfrm>
            <a:off x="5312051" y="4065728"/>
            <a:ext cx="3207162" cy="998321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dash"/>
            <a:miter lim="800000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600" dirty="0" err="1">
              <a:solidFill>
                <a:sysClr val="window" lastClr="FFFFFF"/>
              </a:solidFill>
              <a:latin typeface="PayPal Sans Big Light"/>
            </a:endParaRPr>
          </a:p>
        </p:txBody>
      </p:sp>
      <p:sp>
        <p:nvSpPr>
          <p:cNvPr id="73" name="Rectangle: Rounded Corners 72">
            <a:extLst>
              <a:ext uri="{FF2B5EF4-FFF2-40B4-BE49-F238E27FC236}">
                <a16:creationId xmlns:a16="http://schemas.microsoft.com/office/drawing/2014/main" id="{E34C1F9C-D21A-4856-96CA-D81BFACE3A85}"/>
              </a:ext>
            </a:extLst>
          </p:cNvPr>
          <p:cNvSpPr/>
          <p:nvPr/>
        </p:nvSpPr>
        <p:spPr>
          <a:xfrm>
            <a:off x="503233" y="730326"/>
            <a:ext cx="2392033" cy="57374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/>
              <a:t>Input Data Processing</a:t>
            </a:r>
          </a:p>
        </p:txBody>
      </p:sp>
      <p:sp>
        <p:nvSpPr>
          <p:cNvPr id="122" name="Rectangle: Rounded Corners 121">
            <a:extLst>
              <a:ext uri="{FF2B5EF4-FFF2-40B4-BE49-F238E27FC236}">
                <a16:creationId xmlns:a16="http://schemas.microsoft.com/office/drawing/2014/main" id="{539159E6-181A-4C49-A613-FCB7A909DBAB}"/>
              </a:ext>
            </a:extLst>
          </p:cNvPr>
          <p:cNvSpPr/>
          <p:nvPr/>
        </p:nvSpPr>
        <p:spPr>
          <a:xfrm>
            <a:off x="1872778" y="2004886"/>
            <a:ext cx="1288908" cy="2482247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dash"/>
            <a:miter lim="800000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PayPal Sans Big Light"/>
              <a:ea typeface="+mn-ea"/>
              <a:cs typeface="+mn-cs"/>
            </a:endParaRPr>
          </a:p>
        </p:txBody>
      </p: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5C55BEF5-6105-4244-B26A-EE8510A82E02}"/>
              </a:ext>
            </a:extLst>
          </p:cNvPr>
          <p:cNvSpPr/>
          <p:nvPr/>
        </p:nvSpPr>
        <p:spPr>
          <a:xfrm>
            <a:off x="4550612" y="734218"/>
            <a:ext cx="4745255" cy="58812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/>
              <a:t>Measurement Methodology &amp; Modeling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96B25406-F5C4-4067-99D2-60338ED8104A}"/>
              </a:ext>
            </a:extLst>
          </p:cNvPr>
          <p:cNvSpPr/>
          <p:nvPr/>
        </p:nvSpPr>
        <p:spPr>
          <a:xfrm>
            <a:off x="4198594" y="1804930"/>
            <a:ext cx="1147372" cy="795811"/>
          </a:xfrm>
          <a:prstGeom prst="rect">
            <a:avLst/>
          </a:prstGeom>
          <a:solidFill>
            <a:srgbClr val="F4B54B">
              <a:alpha val="32941"/>
            </a:srgbClr>
          </a:solidFill>
          <a:ln w="12700" cap="flat" cmpd="sng" algn="ctr">
            <a:solidFill>
              <a:schemeClr val="accent1"/>
            </a:solidFill>
            <a:prstDash val="sysDash"/>
            <a:miter lim="800000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Pre-Processe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data</a:t>
            </a:r>
          </a:p>
        </p:txBody>
      </p: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FAC13D83-B3C6-4061-8815-27ED89B2E822}"/>
              </a:ext>
            </a:extLst>
          </p:cNvPr>
          <p:cNvCxnSpPr>
            <a:cxnSpLocks/>
          </p:cNvCxnSpPr>
          <p:nvPr/>
        </p:nvCxnSpPr>
        <p:spPr>
          <a:xfrm>
            <a:off x="5366309" y="2212888"/>
            <a:ext cx="584008" cy="0"/>
          </a:xfrm>
          <a:prstGeom prst="straightConnector1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E66E37DB-4C19-41B5-BC6E-C7EF6E7CF273}"/>
              </a:ext>
            </a:extLst>
          </p:cNvPr>
          <p:cNvCxnSpPr>
            <a:cxnSpLocks/>
          </p:cNvCxnSpPr>
          <p:nvPr/>
        </p:nvCxnSpPr>
        <p:spPr>
          <a:xfrm flipV="1">
            <a:off x="8363368" y="4560234"/>
            <a:ext cx="812378" cy="9626"/>
          </a:xfrm>
          <a:prstGeom prst="line">
            <a:avLst/>
          </a:prstGeom>
          <a:noFill/>
          <a:ln w="22225" cap="flat" cmpd="sng" algn="ctr">
            <a:solidFill>
              <a:schemeClr val="accent1"/>
            </a:solidFill>
            <a:prstDash val="solid"/>
            <a:miter lim="800000"/>
          </a:ln>
          <a:effectLst/>
        </p:spPr>
      </p:cxn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AF378629-264C-41C7-9B21-91AA03DD7A1B}"/>
              </a:ext>
            </a:extLst>
          </p:cNvPr>
          <p:cNvCxnSpPr>
            <a:cxnSpLocks/>
          </p:cNvCxnSpPr>
          <p:nvPr/>
        </p:nvCxnSpPr>
        <p:spPr>
          <a:xfrm>
            <a:off x="7140076" y="2212886"/>
            <a:ext cx="503369" cy="1"/>
          </a:xfrm>
          <a:prstGeom prst="straightConnector1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1" name="Straight Arrow Connector 80">
            <a:extLst>
              <a:ext uri="{FF2B5EF4-FFF2-40B4-BE49-F238E27FC236}">
                <a16:creationId xmlns:a16="http://schemas.microsoft.com/office/drawing/2014/main" id="{D14F13AD-3879-4318-9F9E-63D6C4503CEB}"/>
              </a:ext>
            </a:extLst>
          </p:cNvPr>
          <p:cNvCxnSpPr>
            <a:cxnSpLocks/>
          </p:cNvCxnSpPr>
          <p:nvPr/>
        </p:nvCxnSpPr>
        <p:spPr>
          <a:xfrm flipH="1">
            <a:off x="9175744" y="2202835"/>
            <a:ext cx="2" cy="802554"/>
          </a:xfrm>
          <a:prstGeom prst="straightConnector1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5B1DE984-E9C2-4CD8-AF4E-A3D3C1E0BFC3}"/>
              </a:ext>
            </a:extLst>
          </p:cNvPr>
          <p:cNvCxnSpPr>
            <a:cxnSpLocks/>
          </p:cNvCxnSpPr>
          <p:nvPr/>
        </p:nvCxnSpPr>
        <p:spPr>
          <a:xfrm>
            <a:off x="4721200" y="2610366"/>
            <a:ext cx="0" cy="1940242"/>
          </a:xfrm>
          <a:prstGeom prst="line">
            <a:avLst/>
          </a:prstGeom>
          <a:noFill/>
          <a:ln w="22225" cap="flat" cmpd="sng" algn="ctr">
            <a:solidFill>
              <a:schemeClr val="accent1"/>
            </a:solidFill>
            <a:prstDash val="solid"/>
            <a:miter lim="800000"/>
          </a:ln>
          <a:effectLst/>
        </p:spPr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794D66CF-B3AF-4B0A-80B3-15E14D617C23}"/>
              </a:ext>
            </a:extLst>
          </p:cNvPr>
          <p:cNvCxnSpPr>
            <a:cxnSpLocks/>
          </p:cNvCxnSpPr>
          <p:nvPr/>
        </p:nvCxnSpPr>
        <p:spPr>
          <a:xfrm flipH="1" flipV="1">
            <a:off x="9175744" y="3839875"/>
            <a:ext cx="1" cy="729985"/>
          </a:xfrm>
          <a:prstGeom prst="straightConnector1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E0363CB4-16EA-473B-870E-7CAB35485EB6}"/>
              </a:ext>
            </a:extLst>
          </p:cNvPr>
          <p:cNvCxnSpPr>
            <a:cxnSpLocks/>
          </p:cNvCxnSpPr>
          <p:nvPr/>
        </p:nvCxnSpPr>
        <p:spPr>
          <a:xfrm>
            <a:off x="4721200" y="4540487"/>
            <a:ext cx="571600" cy="0"/>
          </a:xfrm>
          <a:prstGeom prst="straightConnector1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84DC8CBB-7506-4DDE-A450-837D3722AD4B}"/>
              </a:ext>
            </a:extLst>
          </p:cNvPr>
          <p:cNvCxnSpPr>
            <a:cxnSpLocks/>
          </p:cNvCxnSpPr>
          <p:nvPr/>
        </p:nvCxnSpPr>
        <p:spPr>
          <a:xfrm>
            <a:off x="6659159" y="4560234"/>
            <a:ext cx="503369" cy="1"/>
          </a:xfrm>
          <a:prstGeom prst="straightConnector1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miter lim="800000"/>
            <a:tailEnd type="triangle"/>
          </a:ln>
          <a:effectLst/>
        </p:spPr>
      </p:cxnSp>
      <p:grpSp>
        <p:nvGrpSpPr>
          <p:cNvPr id="86" name="Group 85">
            <a:extLst>
              <a:ext uri="{FF2B5EF4-FFF2-40B4-BE49-F238E27FC236}">
                <a16:creationId xmlns:a16="http://schemas.microsoft.com/office/drawing/2014/main" id="{B82C5AEA-9922-495A-AC28-99CC58D7782D}"/>
              </a:ext>
            </a:extLst>
          </p:cNvPr>
          <p:cNvGrpSpPr/>
          <p:nvPr/>
        </p:nvGrpSpPr>
        <p:grpSpPr>
          <a:xfrm>
            <a:off x="197652" y="2531024"/>
            <a:ext cx="1350687" cy="1767724"/>
            <a:chOff x="-200089" y="1616208"/>
            <a:chExt cx="1864656" cy="1767724"/>
          </a:xfrm>
        </p:grpSpPr>
        <p:grpSp>
          <p:nvGrpSpPr>
            <p:cNvPr id="106" name="Group 105">
              <a:extLst>
                <a:ext uri="{FF2B5EF4-FFF2-40B4-BE49-F238E27FC236}">
                  <a16:creationId xmlns:a16="http://schemas.microsoft.com/office/drawing/2014/main" id="{CF0C09DD-C90C-4102-9C02-26ADE3A2F5E8}"/>
                </a:ext>
              </a:extLst>
            </p:cNvPr>
            <p:cNvGrpSpPr/>
            <p:nvPr/>
          </p:nvGrpSpPr>
          <p:grpSpPr>
            <a:xfrm>
              <a:off x="-200089" y="2683634"/>
              <a:ext cx="1864656" cy="700298"/>
              <a:chOff x="3172594" y="1761337"/>
              <a:chExt cx="2834381" cy="1353226"/>
            </a:xfrm>
          </p:grpSpPr>
          <p:sp>
            <p:nvSpPr>
              <p:cNvPr id="119" name="Freeform 61">
                <a:extLst>
                  <a:ext uri="{FF2B5EF4-FFF2-40B4-BE49-F238E27FC236}">
                    <a16:creationId xmlns:a16="http://schemas.microsoft.com/office/drawing/2014/main" id="{4B451AD1-135D-46F8-A24D-96D5F87B4373}"/>
                  </a:ext>
                </a:extLst>
              </p:cNvPr>
              <p:cNvSpPr/>
              <p:nvPr/>
            </p:nvSpPr>
            <p:spPr>
              <a:xfrm>
                <a:off x="3208163" y="2191439"/>
                <a:ext cx="2798812" cy="923124"/>
              </a:xfrm>
              <a:custGeom>
                <a:avLst/>
                <a:gdLst>
                  <a:gd name="connsiteX0" fmla="*/ 0 w 2798814"/>
                  <a:gd name="connsiteY0" fmla="*/ 0 h 923125"/>
                  <a:gd name="connsiteX1" fmla="*/ 2798064 w 2798814"/>
                  <a:gd name="connsiteY1" fmla="*/ 0 h 923125"/>
                  <a:gd name="connsiteX2" fmla="*/ 2798064 w 2798814"/>
                  <a:gd name="connsiteY2" fmla="*/ 129 h 923125"/>
                  <a:gd name="connsiteX3" fmla="*/ 2798814 w 2798814"/>
                  <a:gd name="connsiteY3" fmla="*/ 0 h 923125"/>
                  <a:gd name="connsiteX4" fmla="*/ 2798814 w 2798814"/>
                  <a:gd name="connsiteY4" fmla="*/ 530520 h 923125"/>
                  <a:gd name="connsiteX5" fmla="*/ 1399407 w 2798814"/>
                  <a:gd name="connsiteY5" fmla="*/ 923125 h 923125"/>
                  <a:gd name="connsiteX6" fmla="*/ 0 w 2798814"/>
                  <a:gd name="connsiteY6" fmla="*/ 530520 h 923125"/>
                  <a:gd name="connsiteX7" fmla="*/ 0 w 2798814"/>
                  <a:gd name="connsiteY7" fmla="*/ 415464 h 923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798814" h="923125">
                    <a:moveTo>
                      <a:pt x="0" y="0"/>
                    </a:moveTo>
                    <a:lnTo>
                      <a:pt x="2798064" y="0"/>
                    </a:lnTo>
                    <a:lnTo>
                      <a:pt x="2798064" y="129"/>
                    </a:lnTo>
                    <a:lnTo>
                      <a:pt x="2798814" y="0"/>
                    </a:lnTo>
                    <a:lnTo>
                      <a:pt x="2798814" y="530520"/>
                    </a:lnTo>
                    <a:cubicBezTo>
                      <a:pt x="2798814" y="746254"/>
                      <a:pt x="2171600" y="923125"/>
                      <a:pt x="1399407" y="923125"/>
                    </a:cubicBezTo>
                    <a:cubicBezTo>
                      <a:pt x="627214" y="923125"/>
                      <a:pt x="0" y="746254"/>
                      <a:pt x="0" y="530520"/>
                    </a:cubicBezTo>
                    <a:lnTo>
                      <a:pt x="0" y="415464"/>
                    </a:lnTo>
                    <a:close/>
                  </a:path>
                </a:pathLst>
              </a:custGeom>
              <a:solidFill>
                <a:srgbClr val="5959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b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PayPal Sans Big Light"/>
                    <a:ea typeface="+mn-ea"/>
                    <a:cs typeface="+mn-cs"/>
                  </a:rPr>
                  <a:t>Financial KPIs</a:t>
                </a:r>
              </a:p>
            </p:txBody>
          </p:sp>
          <p:sp>
            <p:nvSpPr>
              <p:cNvPr id="120" name="Oval 119">
                <a:extLst>
                  <a:ext uri="{FF2B5EF4-FFF2-40B4-BE49-F238E27FC236}">
                    <a16:creationId xmlns:a16="http://schemas.microsoft.com/office/drawing/2014/main" id="{57DC4CE6-9E7D-4D49-9EF4-665EA52017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72594" y="1761337"/>
                <a:ext cx="2798812" cy="786577"/>
              </a:xfrm>
              <a:prstGeom prst="ellipse">
                <a:avLst/>
              </a:prstGeom>
              <a:solidFill>
                <a:srgbClr val="7F7F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PayPal Sans Big Light"/>
                  <a:ea typeface="+mn-ea"/>
                  <a:cs typeface="+mn-cs"/>
                </a:endParaRPr>
              </a:p>
            </p:txBody>
          </p:sp>
          <p:sp>
            <p:nvSpPr>
              <p:cNvPr id="121" name="Oval 120">
                <a:extLst>
                  <a:ext uri="{FF2B5EF4-FFF2-40B4-BE49-F238E27FC236}">
                    <a16:creationId xmlns:a16="http://schemas.microsoft.com/office/drawing/2014/main" id="{B340D572-0F57-47F4-91C1-100726ECE6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28758" y="1986611"/>
                <a:ext cx="1486485" cy="299259"/>
              </a:xfrm>
              <a:prstGeom prst="ellipse">
                <a:avLst/>
              </a:prstGeom>
              <a:solidFill>
                <a:sysClr val="window" lastClr="FFFFFF">
                  <a:alpha val="40000"/>
                </a:sys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PayPal Sans Big Light"/>
                  <a:ea typeface="+mn-ea"/>
                  <a:cs typeface="+mn-cs"/>
                </a:endParaRPr>
              </a:p>
            </p:txBody>
          </p:sp>
        </p:grpSp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C23E9C06-9456-4A2E-9183-7BE56ABC6933}"/>
                </a:ext>
              </a:extLst>
            </p:cNvPr>
            <p:cNvGrpSpPr/>
            <p:nvPr/>
          </p:nvGrpSpPr>
          <p:grpSpPr>
            <a:xfrm>
              <a:off x="-183598" y="2330708"/>
              <a:ext cx="1848165" cy="700298"/>
              <a:chOff x="3172594" y="1761337"/>
              <a:chExt cx="2809314" cy="1353226"/>
            </a:xfrm>
          </p:grpSpPr>
          <p:sp>
            <p:nvSpPr>
              <p:cNvPr id="116" name="Freeform 65">
                <a:extLst>
                  <a:ext uri="{FF2B5EF4-FFF2-40B4-BE49-F238E27FC236}">
                    <a16:creationId xmlns:a16="http://schemas.microsoft.com/office/drawing/2014/main" id="{CF310EC6-E046-4A56-B150-6D55149C1DA1}"/>
                  </a:ext>
                </a:extLst>
              </p:cNvPr>
              <p:cNvSpPr/>
              <p:nvPr/>
            </p:nvSpPr>
            <p:spPr>
              <a:xfrm>
                <a:off x="3183095" y="2191439"/>
                <a:ext cx="2798813" cy="923124"/>
              </a:xfrm>
              <a:custGeom>
                <a:avLst/>
                <a:gdLst>
                  <a:gd name="connsiteX0" fmla="*/ 0 w 2798814"/>
                  <a:gd name="connsiteY0" fmla="*/ 0 h 923125"/>
                  <a:gd name="connsiteX1" fmla="*/ 2798064 w 2798814"/>
                  <a:gd name="connsiteY1" fmla="*/ 0 h 923125"/>
                  <a:gd name="connsiteX2" fmla="*/ 2798064 w 2798814"/>
                  <a:gd name="connsiteY2" fmla="*/ 129 h 923125"/>
                  <a:gd name="connsiteX3" fmla="*/ 2798814 w 2798814"/>
                  <a:gd name="connsiteY3" fmla="*/ 0 h 923125"/>
                  <a:gd name="connsiteX4" fmla="*/ 2798814 w 2798814"/>
                  <a:gd name="connsiteY4" fmla="*/ 530520 h 923125"/>
                  <a:gd name="connsiteX5" fmla="*/ 1399407 w 2798814"/>
                  <a:gd name="connsiteY5" fmla="*/ 923125 h 923125"/>
                  <a:gd name="connsiteX6" fmla="*/ 0 w 2798814"/>
                  <a:gd name="connsiteY6" fmla="*/ 530520 h 923125"/>
                  <a:gd name="connsiteX7" fmla="*/ 0 w 2798814"/>
                  <a:gd name="connsiteY7" fmla="*/ 415464 h 923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798814" h="923125">
                    <a:moveTo>
                      <a:pt x="0" y="0"/>
                    </a:moveTo>
                    <a:lnTo>
                      <a:pt x="2798064" y="0"/>
                    </a:lnTo>
                    <a:lnTo>
                      <a:pt x="2798064" y="129"/>
                    </a:lnTo>
                    <a:lnTo>
                      <a:pt x="2798814" y="0"/>
                    </a:lnTo>
                    <a:lnTo>
                      <a:pt x="2798814" y="530520"/>
                    </a:lnTo>
                    <a:cubicBezTo>
                      <a:pt x="2798814" y="746254"/>
                      <a:pt x="2171600" y="923125"/>
                      <a:pt x="1399407" y="923125"/>
                    </a:cubicBezTo>
                    <a:cubicBezTo>
                      <a:pt x="627214" y="923125"/>
                      <a:pt x="0" y="746254"/>
                      <a:pt x="0" y="530520"/>
                    </a:cubicBezTo>
                    <a:lnTo>
                      <a:pt x="0" y="415464"/>
                    </a:lnTo>
                    <a:close/>
                  </a:path>
                </a:pathLst>
              </a:custGeom>
              <a:solidFill>
                <a:srgbClr val="003087">
                  <a:lumMod val="7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b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PayPal Sans Big Light"/>
                    <a:ea typeface="+mn-ea"/>
                    <a:cs typeface="+mn-cs"/>
                  </a:rPr>
                  <a:t>Sales KPIs</a:t>
                </a:r>
              </a:p>
            </p:txBody>
          </p:sp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id="{79F41C7B-1AAD-4907-B8B1-6A1F033680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72594" y="1761337"/>
                <a:ext cx="2798812" cy="786577"/>
              </a:xfrm>
              <a:prstGeom prst="ellipse">
                <a:avLst/>
              </a:prstGeom>
              <a:solidFill>
                <a:srgbClr val="0037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PayPal Sans Big Light"/>
                  <a:ea typeface="+mn-ea"/>
                  <a:cs typeface="+mn-cs"/>
                </a:endParaRPr>
              </a:p>
            </p:txBody>
          </p:sp>
          <p:sp>
            <p:nvSpPr>
              <p:cNvPr id="118" name="Oval 117">
                <a:extLst>
                  <a:ext uri="{FF2B5EF4-FFF2-40B4-BE49-F238E27FC236}">
                    <a16:creationId xmlns:a16="http://schemas.microsoft.com/office/drawing/2014/main" id="{055FB3A6-CC76-4A6C-B625-A0473B21C8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28758" y="1986611"/>
                <a:ext cx="1486485" cy="299259"/>
              </a:xfrm>
              <a:prstGeom prst="ellipse">
                <a:avLst/>
              </a:prstGeom>
              <a:solidFill>
                <a:sysClr val="window" lastClr="FFFFFF">
                  <a:alpha val="40000"/>
                </a:sys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PayPal Sans Big Light"/>
                  <a:ea typeface="+mn-ea"/>
                  <a:cs typeface="+mn-cs"/>
                </a:endParaRPr>
              </a:p>
            </p:txBody>
          </p:sp>
        </p:grpSp>
        <p:grpSp>
          <p:nvGrpSpPr>
            <p:cNvPr id="108" name="Group 107">
              <a:extLst>
                <a:ext uri="{FF2B5EF4-FFF2-40B4-BE49-F238E27FC236}">
                  <a16:creationId xmlns:a16="http://schemas.microsoft.com/office/drawing/2014/main" id="{C4126D54-B5B9-4A5C-82C0-ECBED6DD8AF7}"/>
                </a:ext>
              </a:extLst>
            </p:cNvPr>
            <p:cNvGrpSpPr/>
            <p:nvPr/>
          </p:nvGrpSpPr>
          <p:grpSpPr>
            <a:xfrm>
              <a:off x="-179821" y="1967408"/>
              <a:ext cx="1844386" cy="757448"/>
              <a:chOff x="3172594" y="1761337"/>
              <a:chExt cx="2803571" cy="1463660"/>
            </a:xfrm>
          </p:grpSpPr>
          <p:sp>
            <p:nvSpPr>
              <p:cNvPr id="113" name="Freeform 95">
                <a:extLst>
                  <a:ext uri="{FF2B5EF4-FFF2-40B4-BE49-F238E27FC236}">
                    <a16:creationId xmlns:a16="http://schemas.microsoft.com/office/drawing/2014/main" id="{B9A36D26-D6E2-445D-8E39-55CA447B5FC4}"/>
                  </a:ext>
                </a:extLst>
              </p:cNvPr>
              <p:cNvSpPr/>
              <p:nvPr/>
            </p:nvSpPr>
            <p:spPr>
              <a:xfrm>
                <a:off x="3177351" y="2301873"/>
                <a:ext cx="2798814" cy="923124"/>
              </a:xfrm>
              <a:custGeom>
                <a:avLst/>
                <a:gdLst>
                  <a:gd name="connsiteX0" fmla="*/ 0 w 2798814"/>
                  <a:gd name="connsiteY0" fmla="*/ 0 h 923125"/>
                  <a:gd name="connsiteX1" fmla="*/ 2798064 w 2798814"/>
                  <a:gd name="connsiteY1" fmla="*/ 0 h 923125"/>
                  <a:gd name="connsiteX2" fmla="*/ 2798064 w 2798814"/>
                  <a:gd name="connsiteY2" fmla="*/ 129 h 923125"/>
                  <a:gd name="connsiteX3" fmla="*/ 2798814 w 2798814"/>
                  <a:gd name="connsiteY3" fmla="*/ 0 h 923125"/>
                  <a:gd name="connsiteX4" fmla="*/ 2798814 w 2798814"/>
                  <a:gd name="connsiteY4" fmla="*/ 530520 h 923125"/>
                  <a:gd name="connsiteX5" fmla="*/ 1399407 w 2798814"/>
                  <a:gd name="connsiteY5" fmla="*/ 923125 h 923125"/>
                  <a:gd name="connsiteX6" fmla="*/ 0 w 2798814"/>
                  <a:gd name="connsiteY6" fmla="*/ 530520 h 923125"/>
                  <a:gd name="connsiteX7" fmla="*/ 0 w 2798814"/>
                  <a:gd name="connsiteY7" fmla="*/ 415464 h 923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798814" h="923125">
                    <a:moveTo>
                      <a:pt x="0" y="0"/>
                    </a:moveTo>
                    <a:lnTo>
                      <a:pt x="2798064" y="0"/>
                    </a:lnTo>
                    <a:lnTo>
                      <a:pt x="2798064" y="129"/>
                    </a:lnTo>
                    <a:lnTo>
                      <a:pt x="2798814" y="0"/>
                    </a:lnTo>
                    <a:lnTo>
                      <a:pt x="2798814" y="530520"/>
                    </a:lnTo>
                    <a:cubicBezTo>
                      <a:pt x="2798814" y="746254"/>
                      <a:pt x="2171600" y="923125"/>
                      <a:pt x="1399407" y="923125"/>
                    </a:cubicBezTo>
                    <a:cubicBezTo>
                      <a:pt x="627214" y="923125"/>
                      <a:pt x="0" y="746254"/>
                      <a:pt x="0" y="530520"/>
                    </a:cubicBezTo>
                    <a:lnTo>
                      <a:pt x="0" y="415464"/>
                    </a:lnTo>
                    <a:close/>
                  </a:path>
                </a:pathLst>
              </a:custGeom>
              <a:solidFill>
                <a:srgbClr val="C55A1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 algn="ctr">
                  <a:defRPr/>
                </a:pPr>
                <a:r>
                  <a:rPr lang="en-US" sz="1050" dirty="0"/>
                  <a:t>Marketing KPIs</a:t>
                </a:r>
                <a:endPara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PayPal Sans Big Light"/>
                  <a:ea typeface="+mn-ea"/>
                  <a:cs typeface="+mn-cs"/>
                </a:endParaRPr>
              </a:p>
            </p:txBody>
          </p:sp>
          <p:sp>
            <p:nvSpPr>
              <p:cNvPr id="114" name="Oval 113">
                <a:extLst>
                  <a:ext uri="{FF2B5EF4-FFF2-40B4-BE49-F238E27FC236}">
                    <a16:creationId xmlns:a16="http://schemas.microsoft.com/office/drawing/2014/main" id="{07826FF2-1056-4A51-ADB4-B5024C721C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72594" y="1761337"/>
                <a:ext cx="2798812" cy="786577"/>
              </a:xfrm>
              <a:prstGeom prst="ellipse">
                <a:avLst/>
              </a:prstGeom>
              <a:solidFill>
                <a:srgbClr val="ED7D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PayPal Sans Big Light"/>
                  <a:ea typeface="+mn-ea"/>
                  <a:cs typeface="+mn-cs"/>
                </a:endParaRPr>
              </a:p>
            </p:txBody>
          </p:sp>
          <p:sp>
            <p:nvSpPr>
              <p:cNvPr id="115" name="Oval 114">
                <a:extLst>
                  <a:ext uri="{FF2B5EF4-FFF2-40B4-BE49-F238E27FC236}">
                    <a16:creationId xmlns:a16="http://schemas.microsoft.com/office/drawing/2014/main" id="{AC5326AE-55B8-4900-B32E-AADDF73E36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28758" y="1986611"/>
                <a:ext cx="1486485" cy="299259"/>
              </a:xfrm>
              <a:prstGeom prst="ellipse">
                <a:avLst/>
              </a:prstGeom>
              <a:solidFill>
                <a:sysClr val="window" lastClr="FFFFFF">
                  <a:alpha val="40000"/>
                </a:sys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PayPal Sans Big Light"/>
                  <a:ea typeface="+mn-ea"/>
                  <a:cs typeface="+mn-cs"/>
                </a:endParaRPr>
              </a:p>
            </p:txBody>
          </p:sp>
        </p:grpSp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id="{2E10168B-56A7-4E01-8691-D3B7933088A2}"/>
                </a:ext>
              </a:extLst>
            </p:cNvPr>
            <p:cNvGrpSpPr/>
            <p:nvPr/>
          </p:nvGrpSpPr>
          <p:grpSpPr>
            <a:xfrm>
              <a:off x="-176692" y="1616208"/>
              <a:ext cx="1841257" cy="747923"/>
              <a:chOff x="3172592" y="1834961"/>
              <a:chExt cx="2798814" cy="1445254"/>
            </a:xfrm>
          </p:grpSpPr>
          <p:sp>
            <p:nvSpPr>
              <p:cNvPr id="110" name="Freeform 99">
                <a:extLst>
                  <a:ext uri="{FF2B5EF4-FFF2-40B4-BE49-F238E27FC236}">
                    <a16:creationId xmlns:a16="http://schemas.microsoft.com/office/drawing/2014/main" id="{DAB61C99-F0AA-4360-BDF4-058A7FACF40E}"/>
                  </a:ext>
                </a:extLst>
              </p:cNvPr>
              <p:cNvSpPr/>
              <p:nvPr/>
            </p:nvSpPr>
            <p:spPr>
              <a:xfrm>
                <a:off x="3172592" y="2357091"/>
                <a:ext cx="2798814" cy="923124"/>
              </a:xfrm>
              <a:custGeom>
                <a:avLst/>
                <a:gdLst>
                  <a:gd name="connsiteX0" fmla="*/ 0 w 2798814"/>
                  <a:gd name="connsiteY0" fmla="*/ 0 h 923125"/>
                  <a:gd name="connsiteX1" fmla="*/ 2798064 w 2798814"/>
                  <a:gd name="connsiteY1" fmla="*/ 0 h 923125"/>
                  <a:gd name="connsiteX2" fmla="*/ 2798064 w 2798814"/>
                  <a:gd name="connsiteY2" fmla="*/ 129 h 923125"/>
                  <a:gd name="connsiteX3" fmla="*/ 2798814 w 2798814"/>
                  <a:gd name="connsiteY3" fmla="*/ 0 h 923125"/>
                  <a:gd name="connsiteX4" fmla="*/ 2798814 w 2798814"/>
                  <a:gd name="connsiteY4" fmla="*/ 530520 h 923125"/>
                  <a:gd name="connsiteX5" fmla="*/ 1399407 w 2798814"/>
                  <a:gd name="connsiteY5" fmla="*/ 923125 h 923125"/>
                  <a:gd name="connsiteX6" fmla="*/ 0 w 2798814"/>
                  <a:gd name="connsiteY6" fmla="*/ 530520 h 923125"/>
                  <a:gd name="connsiteX7" fmla="*/ 0 w 2798814"/>
                  <a:gd name="connsiteY7" fmla="*/ 415464 h 923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798814" h="923125">
                    <a:moveTo>
                      <a:pt x="0" y="0"/>
                    </a:moveTo>
                    <a:lnTo>
                      <a:pt x="2798064" y="0"/>
                    </a:lnTo>
                    <a:lnTo>
                      <a:pt x="2798064" y="129"/>
                    </a:lnTo>
                    <a:lnTo>
                      <a:pt x="2798814" y="0"/>
                    </a:lnTo>
                    <a:lnTo>
                      <a:pt x="2798814" y="530520"/>
                    </a:lnTo>
                    <a:cubicBezTo>
                      <a:pt x="2798814" y="746254"/>
                      <a:pt x="2171600" y="923125"/>
                      <a:pt x="1399407" y="923125"/>
                    </a:cubicBezTo>
                    <a:cubicBezTo>
                      <a:pt x="627214" y="923125"/>
                      <a:pt x="0" y="746254"/>
                      <a:pt x="0" y="530520"/>
                    </a:cubicBezTo>
                    <a:lnTo>
                      <a:pt x="0" y="415464"/>
                    </a:lnTo>
                    <a:close/>
                  </a:path>
                </a:pathLst>
              </a:custGeom>
              <a:solidFill>
                <a:srgbClr val="00CF92">
                  <a:lumMod val="7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 algn="ctr">
                  <a:defRPr/>
                </a:pPr>
                <a:r>
                  <a:rPr lang="en-US" sz="1050" dirty="0"/>
                  <a:t>Customer KPI</a:t>
                </a:r>
                <a:endPara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PayPal Sans Big Light"/>
                  <a:ea typeface="+mn-ea"/>
                  <a:cs typeface="+mn-cs"/>
                </a:endParaRPr>
              </a:p>
            </p:txBody>
          </p: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3B767626-C108-4324-88FF-1B52EAEF48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72594" y="1834961"/>
                <a:ext cx="2798812" cy="786576"/>
              </a:xfrm>
              <a:prstGeom prst="ellipse">
                <a:avLst/>
              </a:prstGeom>
              <a:gradFill>
                <a:gsLst>
                  <a:gs pos="0">
                    <a:srgbClr val="00CF92"/>
                  </a:gs>
                  <a:gs pos="90000">
                    <a:srgbClr val="009CDE"/>
                  </a:gs>
                </a:gsLst>
                <a:path path="circle">
                  <a:fillToRect r="100000" b="100000"/>
                </a:path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PayPal Sans Big Medium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0091B142-A73F-472D-9E54-C518970D34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28758" y="1986611"/>
                <a:ext cx="1486485" cy="299259"/>
              </a:xfrm>
              <a:prstGeom prst="ellipse">
                <a:avLst/>
              </a:prstGeom>
              <a:solidFill>
                <a:sysClr val="window" lastClr="FFFFFF">
                  <a:alpha val="40000"/>
                </a:sys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PayPal Sans Big Light"/>
                  <a:ea typeface="+mn-ea"/>
                  <a:cs typeface="+mn-cs"/>
                </a:endParaRPr>
              </a:p>
            </p:txBody>
          </p:sp>
        </p:grpSp>
      </p:grpSp>
      <p:sp>
        <p:nvSpPr>
          <p:cNvPr id="87" name="Right Brace 86">
            <a:extLst>
              <a:ext uri="{FF2B5EF4-FFF2-40B4-BE49-F238E27FC236}">
                <a16:creationId xmlns:a16="http://schemas.microsoft.com/office/drawing/2014/main" id="{F5B64F90-2AFE-4C31-B678-BC39B1DD337C}"/>
              </a:ext>
            </a:extLst>
          </p:cNvPr>
          <p:cNvSpPr/>
          <p:nvPr/>
        </p:nvSpPr>
        <p:spPr>
          <a:xfrm flipH="1">
            <a:off x="1569446" y="2044814"/>
            <a:ext cx="273394" cy="2452594"/>
          </a:xfrm>
          <a:prstGeom prst="rightBrace">
            <a:avLst/>
          </a:prstGeom>
          <a:noFill/>
          <a:ln w="19050" cap="flat" cmpd="sng" algn="ctr">
            <a:solidFill>
              <a:schemeClr val="accent1"/>
            </a:solidFill>
            <a:prstDash val="sysDash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ayPal Sans Big Light"/>
              <a:ea typeface="+mn-ea"/>
              <a:cs typeface="+mn-cs"/>
            </a:endParaRPr>
          </a:p>
        </p:txBody>
      </p:sp>
      <p:sp>
        <p:nvSpPr>
          <p:cNvPr id="88" name="Arrow: Right 87">
            <a:extLst>
              <a:ext uri="{FF2B5EF4-FFF2-40B4-BE49-F238E27FC236}">
                <a16:creationId xmlns:a16="http://schemas.microsoft.com/office/drawing/2014/main" id="{EDA3A079-A924-4834-BA46-614D38FF4EF3}"/>
              </a:ext>
            </a:extLst>
          </p:cNvPr>
          <p:cNvSpPr/>
          <p:nvPr/>
        </p:nvSpPr>
        <p:spPr>
          <a:xfrm>
            <a:off x="3375223" y="2970510"/>
            <a:ext cx="693939" cy="553775"/>
          </a:xfrm>
          <a:prstGeom prst="rightArrow">
            <a:avLst/>
          </a:prstGeom>
          <a:noFill/>
          <a:ln w="381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 err="1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PayPal Sans Big Light"/>
              <a:ea typeface="+mn-ea"/>
              <a:cs typeface="+mn-cs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DC6D59D5-BD0A-4BA4-B582-2994F8F5AE16}"/>
              </a:ext>
            </a:extLst>
          </p:cNvPr>
          <p:cNvSpPr/>
          <p:nvPr/>
        </p:nvSpPr>
        <p:spPr>
          <a:xfrm>
            <a:off x="5982314" y="1790076"/>
            <a:ext cx="1147372" cy="795811"/>
          </a:xfrm>
          <a:prstGeom prst="rect">
            <a:avLst/>
          </a:prstGeom>
          <a:solidFill>
            <a:srgbClr val="F4B54B">
              <a:alpha val="32941"/>
            </a:srgbClr>
          </a:solidFill>
          <a:ln w="12700" cap="flat" cmpd="sng" algn="ctr">
            <a:solidFill>
              <a:schemeClr val="accent1"/>
            </a:solidFill>
            <a:prstDash val="sysDash"/>
            <a:miter lim="800000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/>
              <a:t>Method-1</a:t>
            </a:r>
          </a:p>
          <a:p>
            <a:pPr algn="ctr"/>
            <a:r>
              <a:rPr lang="en-US" sz="1200" dirty="0"/>
              <a:t>Bayesian Time Series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45A7EBF5-8B61-42AE-A839-A3FEA7B8F58C}"/>
              </a:ext>
            </a:extLst>
          </p:cNvPr>
          <p:cNvSpPr/>
          <p:nvPr/>
        </p:nvSpPr>
        <p:spPr>
          <a:xfrm>
            <a:off x="7643445" y="1795218"/>
            <a:ext cx="1147372" cy="795811"/>
          </a:xfrm>
          <a:prstGeom prst="rect">
            <a:avLst/>
          </a:prstGeom>
          <a:solidFill>
            <a:srgbClr val="F4B54B">
              <a:alpha val="32941"/>
            </a:srgbClr>
          </a:solidFill>
          <a:ln w="12700" cap="flat" cmpd="sng" algn="ctr">
            <a:solidFill>
              <a:schemeClr val="accent1"/>
            </a:solidFill>
            <a:prstDash val="sysDash"/>
            <a:miter lim="800000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/>
              <a:t>Model</a:t>
            </a:r>
          </a:p>
          <a:p>
            <a:pPr algn="ctr"/>
            <a:r>
              <a:rPr lang="en-US" sz="1200" dirty="0"/>
              <a:t> Forecast</a:t>
            </a:r>
          </a:p>
        </p:txBody>
      </p: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CAE2116F-5DE4-4621-B88E-32F5C73C9D07}"/>
              </a:ext>
            </a:extLst>
          </p:cNvPr>
          <p:cNvCxnSpPr>
            <a:cxnSpLocks/>
          </p:cNvCxnSpPr>
          <p:nvPr/>
        </p:nvCxnSpPr>
        <p:spPr>
          <a:xfrm>
            <a:off x="8790817" y="2212886"/>
            <a:ext cx="394552" cy="0"/>
          </a:xfrm>
          <a:prstGeom prst="line">
            <a:avLst/>
          </a:prstGeom>
          <a:noFill/>
          <a:ln w="22225" cap="flat" cmpd="sng" algn="ctr">
            <a:solidFill>
              <a:schemeClr val="accent1"/>
            </a:solidFill>
            <a:prstDash val="solid"/>
            <a:miter lim="800000"/>
          </a:ln>
          <a:effectLst/>
        </p:spPr>
      </p:cxnSp>
      <p:sp>
        <p:nvSpPr>
          <p:cNvPr id="92" name="Rectangle 91">
            <a:extLst>
              <a:ext uri="{FF2B5EF4-FFF2-40B4-BE49-F238E27FC236}">
                <a16:creationId xmlns:a16="http://schemas.microsoft.com/office/drawing/2014/main" id="{633653DB-61FD-49A6-9A5B-3E9BFAD5FA3D}"/>
              </a:ext>
            </a:extLst>
          </p:cNvPr>
          <p:cNvSpPr/>
          <p:nvPr/>
        </p:nvSpPr>
        <p:spPr>
          <a:xfrm>
            <a:off x="8237097" y="3037132"/>
            <a:ext cx="1411621" cy="758318"/>
          </a:xfrm>
          <a:prstGeom prst="rect">
            <a:avLst/>
          </a:prstGeom>
          <a:solidFill>
            <a:srgbClr val="F4B54B">
              <a:alpha val="32941"/>
            </a:srgbClr>
          </a:solidFill>
          <a:ln w="12700" cap="flat" cmpd="sng" algn="ctr">
            <a:solidFill>
              <a:schemeClr val="accent1"/>
            </a:solidFill>
            <a:prstDash val="sysDash"/>
            <a:miter lim="800000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/>
              <a:t>Model Results - Estimated Upside</a:t>
            </a:r>
          </a:p>
          <a:p>
            <a:pPr algn="ctr"/>
            <a:r>
              <a:rPr lang="en-US" sz="1200" dirty="0"/>
              <a:t>(Ensembled)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393F62A2-D28C-433C-B19D-5ECC01551D93}"/>
              </a:ext>
            </a:extLst>
          </p:cNvPr>
          <p:cNvSpPr/>
          <p:nvPr/>
        </p:nvSpPr>
        <p:spPr>
          <a:xfrm>
            <a:off x="5497023" y="4162329"/>
            <a:ext cx="1147372" cy="795811"/>
          </a:xfrm>
          <a:prstGeom prst="rect">
            <a:avLst/>
          </a:prstGeom>
          <a:solidFill>
            <a:srgbClr val="F4B54B">
              <a:alpha val="32941"/>
            </a:srgbClr>
          </a:solidFill>
          <a:ln w="12700" cap="flat" cmpd="sng" algn="ctr">
            <a:solidFill>
              <a:schemeClr val="accent1"/>
            </a:solidFill>
            <a:prstDash val="sysDash"/>
            <a:miter lim="800000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/>
              <a:t>Method-2</a:t>
            </a:r>
          </a:p>
          <a:p>
            <a:pPr algn="ctr"/>
            <a:r>
              <a:rPr lang="en-US" sz="1200" dirty="0"/>
              <a:t>ML Algorithm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FD469DC9-6EEF-48F8-A709-C41AE5C9785D}"/>
              </a:ext>
            </a:extLst>
          </p:cNvPr>
          <p:cNvSpPr/>
          <p:nvPr/>
        </p:nvSpPr>
        <p:spPr>
          <a:xfrm>
            <a:off x="7215996" y="4162328"/>
            <a:ext cx="1147372" cy="795811"/>
          </a:xfrm>
          <a:prstGeom prst="rect">
            <a:avLst/>
          </a:prstGeom>
          <a:solidFill>
            <a:srgbClr val="F4B54B">
              <a:alpha val="32941"/>
            </a:srgbClr>
          </a:solidFill>
          <a:ln w="12700" cap="flat" cmpd="sng" algn="ctr">
            <a:solidFill>
              <a:schemeClr val="accent1"/>
            </a:solidFill>
            <a:prstDash val="sysDash"/>
            <a:miter lim="800000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/>
              <a:t>Measure Pre-Post Growth</a:t>
            </a:r>
          </a:p>
        </p:txBody>
      </p:sp>
      <p:sp>
        <p:nvSpPr>
          <p:cNvPr id="95" name="Arrow: Right 94">
            <a:extLst>
              <a:ext uri="{FF2B5EF4-FFF2-40B4-BE49-F238E27FC236}">
                <a16:creationId xmlns:a16="http://schemas.microsoft.com/office/drawing/2014/main" id="{410466AD-43EF-40EF-8909-5EC06CA743CB}"/>
              </a:ext>
            </a:extLst>
          </p:cNvPr>
          <p:cNvSpPr/>
          <p:nvPr/>
        </p:nvSpPr>
        <p:spPr>
          <a:xfrm>
            <a:off x="9817400" y="3123880"/>
            <a:ext cx="693939" cy="553775"/>
          </a:xfrm>
          <a:prstGeom prst="rightArrow">
            <a:avLst/>
          </a:prstGeom>
          <a:noFill/>
          <a:ln w="381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 b="1" dirty="0" err="1">
              <a:solidFill>
                <a:sysClr val="window" lastClr="FFFFFF"/>
              </a:solidFill>
              <a:latin typeface="PayPal Sans Big Light"/>
            </a:endParaRPr>
          </a:p>
        </p:txBody>
      </p:sp>
      <p:sp>
        <p:nvSpPr>
          <p:cNvPr id="96" name="Rectangle: Rounded Corners 95">
            <a:extLst>
              <a:ext uri="{FF2B5EF4-FFF2-40B4-BE49-F238E27FC236}">
                <a16:creationId xmlns:a16="http://schemas.microsoft.com/office/drawing/2014/main" id="{298D3607-FBEE-4AA2-9D09-FD7EB7FDC0A1}"/>
              </a:ext>
            </a:extLst>
          </p:cNvPr>
          <p:cNvSpPr/>
          <p:nvPr/>
        </p:nvSpPr>
        <p:spPr>
          <a:xfrm>
            <a:off x="10746664" y="750057"/>
            <a:ext cx="1230269" cy="59283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/>
              <a:t>Reporting</a:t>
            </a:r>
          </a:p>
        </p:txBody>
      </p:sp>
      <p:cxnSp>
        <p:nvCxnSpPr>
          <p:cNvPr id="97" name="Straight Arrow Connector 96">
            <a:extLst>
              <a:ext uri="{FF2B5EF4-FFF2-40B4-BE49-F238E27FC236}">
                <a16:creationId xmlns:a16="http://schemas.microsoft.com/office/drawing/2014/main" id="{876EEE4F-B3A9-427C-B377-BDFA8DC131D2}"/>
              </a:ext>
            </a:extLst>
          </p:cNvPr>
          <p:cNvCxnSpPr>
            <a:cxnSpLocks/>
          </p:cNvCxnSpPr>
          <p:nvPr/>
        </p:nvCxnSpPr>
        <p:spPr>
          <a:xfrm>
            <a:off x="11386805" y="3145683"/>
            <a:ext cx="1" cy="382834"/>
          </a:xfrm>
          <a:prstGeom prst="straightConnector1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01" name="Rectangle: Rounded Corners 100">
            <a:extLst>
              <a:ext uri="{FF2B5EF4-FFF2-40B4-BE49-F238E27FC236}">
                <a16:creationId xmlns:a16="http://schemas.microsoft.com/office/drawing/2014/main" id="{2523EDBC-18E0-4360-A42A-8B20806A4DBC}"/>
              </a:ext>
            </a:extLst>
          </p:cNvPr>
          <p:cNvSpPr/>
          <p:nvPr/>
        </p:nvSpPr>
        <p:spPr>
          <a:xfrm>
            <a:off x="2953478" y="5965562"/>
            <a:ext cx="2226652" cy="323416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/>
              <a:t>Python/R</a:t>
            </a:r>
          </a:p>
        </p:txBody>
      </p:sp>
      <p:sp>
        <p:nvSpPr>
          <p:cNvPr id="102" name="Rectangle: Rounded Corners 101">
            <a:extLst>
              <a:ext uri="{FF2B5EF4-FFF2-40B4-BE49-F238E27FC236}">
                <a16:creationId xmlns:a16="http://schemas.microsoft.com/office/drawing/2014/main" id="{AAA36E9F-9E87-4E36-AD9A-5A16598F94CD}"/>
              </a:ext>
            </a:extLst>
          </p:cNvPr>
          <p:cNvSpPr/>
          <p:nvPr/>
        </p:nvSpPr>
        <p:spPr>
          <a:xfrm>
            <a:off x="5345512" y="5971777"/>
            <a:ext cx="2233626" cy="300457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/>
              <a:t>Tableau Dashboard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54D2E45C-DF14-4FA5-89E7-6A2EA082675E}"/>
              </a:ext>
            </a:extLst>
          </p:cNvPr>
          <p:cNvSpPr/>
          <p:nvPr/>
        </p:nvSpPr>
        <p:spPr>
          <a:xfrm>
            <a:off x="10795978" y="2328056"/>
            <a:ext cx="1147372" cy="795811"/>
          </a:xfrm>
          <a:prstGeom prst="rect">
            <a:avLst/>
          </a:prstGeom>
          <a:solidFill>
            <a:srgbClr val="F4B54B">
              <a:alpha val="32941"/>
            </a:srgbClr>
          </a:solidFill>
          <a:ln w="12700" cap="flat" cmpd="sng" algn="ctr">
            <a:solidFill>
              <a:schemeClr val="accent1"/>
            </a:solidFill>
            <a:prstDash val="sysDash"/>
            <a:miter lim="800000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/>
              <a:t>Reporting Upside Estimates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034EEF64-F99B-4F22-BE79-CA591F2A495B}"/>
              </a:ext>
            </a:extLst>
          </p:cNvPr>
          <p:cNvSpPr/>
          <p:nvPr/>
        </p:nvSpPr>
        <p:spPr>
          <a:xfrm>
            <a:off x="10795978" y="3538791"/>
            <a:ext cx="1147372" cy="795811"/>
          </a:xfrm>
          <a:prstGeom prst="rect">
            <a:avLst/>
          </a:prstGeom>
          <a:solidFill>
            <a:srgbClr val="F4B54B">
              <a:alpha val="32941"/>
            </a:srgbClr>
          </a:solidFill>
          <a:ln w="12700" cap="flat" cmpd="sng" algn="ctr">
            <a:solidFill>
              <a:schemeClr val="accent1"/>
            </a:solidFill>
            <a:prstDash val="sysDash"/>
            <a:miter lim="800000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/>
              <a:t>Monthly /</a:t>
            </a:r>
          </a:p>
          <a:p>
            <a:pPr algn="ctr"/>
            <a:r>
              <a:rPr lang="en-US" sz="1200" dirty="0"/>
              <a:t>Quarterly Refresh</a:t>
            </a:r>
          </a:p>
        </p:txBody>
      </p:sp>
      <p:sp>
        <p:nvSpPr>
          <p:cNvPr id="105" name="TextBox 62">
            <a:extLst>
              <a:ext uri="{FF2B5EF4-FFF2-40B4-BE49-F238E27FC236}">
                <a16:creationId xmlns:a16="http://schemas.microsoft.com/office/drawing/2014/main" id="{05E0B0D6-71AC-4838-A250-DBEFE04786A3}"/>
              </a:ext>
            </a:extLst>
          </p:cNvPr>
          <p:cNvSpPr txBox="1"/>
          <p:nvPr/>
        </p:nvSpPr>
        <p:spPr>
          <a:xfrm>
            <a:off x="368498" y="2197022"/>
            <a:ext cx="104913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indent="0" algn="ctr" defTabSz="457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schemeClr val="lt1"/>
                </a:solidFill>
              </a:rPr>
              <a:t>Data Level</a:t>
            </a:r>
          </a:p>
        </p:txBody>
      </p:sp>
      <p:sp>
        <p:nvSpPr>
          <p:cNvPr id="125" name="Rectangle: Rounded Corners 124">
            <a:extLst>
              <a:ext uri="{FF2B5EF4-FFF2-40B4-BE49-F238E27FC236}">
                <a16:creationId xmlns:a16="http://schemas.microsoft.com/office/drawing/2014/main" id="{C1BB20E1-03D8-4666-ABC2-48EBBDD39769}"/>
              </a:ext>
            </a:extLst>
          </p:cNvPr>
          <p:cNvSpPr/>
          <p:nvPr/>
        </p:nvSpPr>
        <p:spPr>
          <a:xfrm>
            <a:off x="94733" y="1708877"/>
            <a:ext cx="3149298" cy="2967033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ayPal Sans Big Light"/>
              <a:ea typeface="+mn-ea"/>
              <a:cs typeface="+mn-cs"/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54D32141-D9B9-47AF-BB9D-788B43F315E5}"/>
              </a:ext>
            </a:extLst>
          </p:cNvPr>
          <p:cNvSpPr/>
          <p:nvPr/>
        </p:nvSpPr>
        <p:spPr>
          <a:xfrm>
            <a:off x="1849946" y="2303651"/>
            <a:ext cx="1460764" cy="1938992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lvl="0" indent="-18288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lt1"/>
                </a:solidFill>
              </a:rPr>
              <a:t>Promotions</a:t>
            </a:r>
          </a:p>
          <a:p>
            <a:pPr lvl="0" indent="-18288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lt1"/>
                </a:solidFill>
              </a:rPr>
              <a:t>Spends</a:t>
            </a:r>
          </a:p>
          <a:p>
            <a:pPr lvl="0" indent="-18288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lt1"/>
                </a:solidFill>
              </a:rPr>
              <a:t>Supply </a:t>
            </a:r>
          </a:p>
          <a:p>
            <a:pPr lvl="0" indent="-18288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lt1"/>
                </a:solidFill>
              </a:rPr>
              <a:t>Trade Promo</a:t>
            </a:r>
          </a:p>
          <a:p>
            <a:pPr lvl="0" indent="-18288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lt1"/>
                </a:solidFill>
              </a:rPr>
              <a:t>Price</a:t>
            </a:r>
          </a:p>
          <a:p>
            <a:pPr lvl="0" indent="-18288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lt1"/>
                </a:solidFill>
              </a:rPr>
              <a:t>Volume</a:t>
            </a:r>
          </a:p>
          <a:p>
            <a:pPr lvl="0" indent="-18288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lt1"/>
                </a:solidFill>
              </a:rPr>
              <a:t>Mkt Budget</a:t>
            </a:r>
          </a:p>
          <a:p>
            <a:pPr lvl="0" indent="-18288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lt1"/>
                </a:solidFill>
              </a:rPr>
              <a:t>Revenue</a:t>
            </a:r>
          </a:p>
          <a:p>
            <a:pPr lvl="0" indent="-18288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lt1"/>
                </a:solidFill>
              </a:rPr>
              <a:t>Categories</a:t>
            </a:r>
          </a:p>
          <a:p>
            <a:pPr lvl="0" indent="-18288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lt1"/>
                </a:solidFill>
              </a:rPr>
              <a:t>Engagement</a:t>
            </a: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1D53EA92-7ECA-43CC-96C8-24678F471E3C}"/>
              </a:ext>
            </a:extLst>
          </p:cNvPr>
          <p:cNvSpPr/>
          <p:nvPr/>
        </p:nvSpPr>
        <p:spPr>
          <a:xfrm>
            <a:off x="4105323" y="1390365"/>
            <a:ext cx="5606301" cy="3845870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ayPal Sans Big Light"/>
              <a:ea typeface="+mn-ea"/>
              <a:cs typeface="+mn-cs"/>
            </a:endParaRPr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992DD4D8-2595-416F-A4A9-3406E9FCBA46}"/>
              </a:ext>
            </a:extLst>
          </p:cNvPr>
          <p:cNvSpPr/>
          <p:nvPr/>
        </p:nvSpPr>
        <p:spPr>
          <a:xfrm>
            <a:off x="10617115" y="1390365"/>
            <a:ext cx="1480152" cy="3845870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ayPal Sans Big Light"/>
              <a:ea typeface="+mn-ea"/>
              <a:cs typeface="+mn-cs"/>
            </a:endParaRPr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F4C2FE6A-99B7-4F5F-9395-BDF965F55EC7}"/>
              </a:ext>
            </a:extLst>
          </p:cNvPr>
          <p:cNvSpPr/>
          <p:nvPr/>
        </p:nvSpPr>
        <p:spPr>
          <a:xfrm>
            <a:off x="188295" y="5837912"/>
            <a:ext cx="2392033" cy="57374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/>
              <a:t>Implementation Tools</a:t>
            </a:r>
          </a:p>
        </p:txBody>
      </p:sp>
    </p:spTree>
    <p:extLst>
      <p:ext uri="{BB962C8B-B14F-4D97-AF65-F5344CB8AC3E}">
        <p14:creationId xmlns:p14="http://schemas.microsoft.com/office/powerpoint/2010/main" val="9067919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1lvwzezfZb0poFFT6C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1lvwzezfZb0poFFT6Ca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ax4CJvYIjAJkxDxEMCS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Z452dqcBP4vmTGy2Qn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1lvwzezfZb0poFFT6Ca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1lvwzezfZb0poFFT6Ca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Mesh">
  <a:themeElements>
    <a:clrScheme name="Mesh">
      <a:dk1>
        <a:sysClr val="windowText" lastClr="000000"/>
      </a:dk1>
      <a:lt1>
        <a:sysClr val="window" lastClr="FFFFFF"/>
      </a:lt1>
      <a:dk2>
        <a:srgbClr val="363D46"/>
      </a:dk2>
      <a:lt2>
        <a:srgbClr val="EBEBEB"/>
      </a:lt2>
      <a:accent1>
        <a:srgbClr val="F4B54B"/>
      </a:accent1>
      <a:accent2>
        <a:srgbClr val="A2C84E"/>
      </a:accent2>
      <a:accent3>
        <a:srgbClr val="4BC298"/>
      </a:accent3>
      <a:accent4>
        <a:srgbClr val="4CB5D3"/>
      </a:accent4>
      <a:accent5>
        <a:srgbClr val="9167E3"/>
      </a:accent5>
      <a:accent6>
        <a:srgbClr val="E05073"/>
      </a:accent6>
      <a:hlink>
        <a:srgbClr val="E19520"/>
      </a:hlink>
      <a:folHlink>
        <a:srgbClr val="E8B15D"/>
      </a:folHlink>
    </a:clrScheme>
    <a:fontScheme name="Mesh">
      <a:maj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Mesh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lumMod val="110000"/>
              </a:schemeClr>
            </a:gs>
            <a:gs pos="100000">
              <a:schemeClr val="phClr">
                <a:tint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84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50800" dist="25400" dir="13500000">
              <a:srgbClr val="000000">
                <a:alpha val="5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>
            <a:bevelT w="25400" h="25400" prst="slope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64000"/>
                <a:lumMod val="98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28000"/>
                <a:satMod val="94000"/>
                <a:lumMod val="20000"/>
              </a:schemeClr>
              <a:schemeClr val="phClr">
                <a:tint val="94000"/>
                <a:shade val="84000"/>
                <a:satMod val="148000"/>
                <a:lumMod val="114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sh" id="{789EC3FE-34FD-429C-9918-760025E6C145}" vid="{DD1DAD52-B525-46B5-8E87-60EE23581B9C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3457485[[fn=Mesh]]</Template>
  <TotalTime>276</TotalTime>
  <Words>288</Words>
  <Application>Microsoft Office PowerPoint</Application>
  <PresentationFormat>Widescreen</PresentationFormat>
  <Paragraphs>73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Arial</vt:lpstr>
      <vt:lpstr>Century Gothic</vt:lpstr>
      <vt:lpstr>PayPal Sans Big</vt:lpstr>
      <vt:lpstr>PayPal Sans Big Light</vt:lpstr>
      <vt:lpstr>PayPal Sans Big Medium</vt:lpstr>
      <vt:lpstr>Mesh</vt:lpstr>
      <vt:lpstr>think-cell Slide</vt:lpstr>
      <vt:lpstr>Sales performance Deep Dive and forecast: An ML Driven Analytics Solution</vt:lpstr>
      <vt:lpstr>Why do we exist: An elevator Pitch</vt:lpstr>
      <vt:lpstr>Agenda</vt:lpstr>
      <vt:lpstr>Business overview: Problem understanding &amp; Requirement Gathering</vt:lpstr>
      <vt:lpstr>Model Deployment Architecture: An Automated Solu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 ML Driven Analytics Solution for Sales performance Deep Dive and forecast</dc:title>
  <dc:creator>Chhabra, Aniket</dc:creator>
  <cp:lastModifiedBy>Chhabra, Aniket</cp:lastModifiedBy>
  <cp:revision>41</cp:revision>
  <dcterms:created xsi:type="dcterms:W3CDTF">2020-03-26T14:46:19Z</dcterms:created>
  <dcterms:modified xsi:type="dcterms:W3CDTF">2020-03-28T04:20:54Z</dcterms:modified>
</cp:coreProperties>
</file>